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54" r:id="rId5"/>
  </p:sldMasterIdLst>
  <p:notesMasterIdLst>
    <p:notesMasterId r:id="rId19"/>
  </p:notesMasterIdLst>
  <p:handoutMasterIdLst>
    <p:handoutMasterId r:id="rId20"/>
  </p:handoutMasterIdLst>
  <p:sldIdLst>
    <p:sldId id="256" r:id="rId6"/>
    <p:sldId id="303" r:id="rId7"/>
    <p:sldId id="2147470250" r:id="rId8"/>
    <p:sldId id="265" r:id="rId9"/>
    <p:sldId id="2147470249" r:id="rId10"/>
    <p:sldId id="2147470262" r:id="rId11"/>
    <p:sldId id="2147470266" r:id="rId12"/>
    <p:sldId id="2147470267" r:id="rId13"/>
    <p:sldId id="2147470265" r:id="rId14"/>
    <p:sldId id="2147470261" r:id="rId15"/>
    <p:sldId id="2147470260" r:id="rId16"/>
    <p:sldId id="2147470147" r:id="rId17"/>
    <p:sldId id="261" r:id="rId18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162" userDrawn="1">
          <p15:clr>
            <a:srgbClr val="A4A3A4"/>
          </p15:clr>
        </p15:guide>
        <p15:guide id="3" pos="302" userDrawn="1">
          <p15:clr>
            <a:srgbClr val="A4A3A4"/>
          </p15:clr>
        </p15:guide>
        <p15:guide id="4" pos="7378" userDrawn="1">
          <p15:clr>
            <a:srgbClr val="A4A3A4"/>
          </p15:clr>
        </p15:guide>
        <p15:guide id="5" orient="horz" pos="3974" userDrawn="1">
          <p15:clr>
            <a:srgbClr val="A4A3A4"/>
          </p15:clr>
        </p15:guide>
        <p15:guide id="6" orient="horz" pos="323" userDrawn="1">
          <p15:clr>
            <a:srgbClr val="A4A3A4"/>
          </p15:clr>
        </p15:guide>
        <p15:guide id="7" orient="horz" pos="1321" userDrawn="1">
          <p15:clr>
            <a:srgbClr val="A4A3A4"/>
          </p15:clr>
        </p15:guide>
        <p15:guide id="8" orient="horz" pos="1911" userDrawn="1">
          <p15:clr>
            <a:srgbClr val="A4A3A4"/>
          </p15:clr>
        </p15:guide>
        <p15:guide id="9" pos="3409" userDrawn="1">
          <p15:clr>
            <a:srgbClr val="A4A3A4"/>
          </p15:clr>
        </p15:guide>
        <p15:guide id="10" orient="horz" pos="2908" userDrawn="1">
          <p15:clr>
            <a:srgbClr val="A4A3A4"/>
          </p15:clr>
        </p15:guide>
        <p15:guide id="11" orient="horz" userDrawn="1">
          <p15:clr>
            <a:srgbClr val="A4A3A4"/>
          </p15:clr>
        </p15:guide>
        <p15:guide id="12" pos="540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57678"/>
    <a:srgbClr val="D20050"/>
    <a:srgbClr val="6F7072"/>
    <a:srgbClr val="4171B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E5C3BDE-DDD2-4E73-B20F-3FFE9CBF5849}" v="1305" dt="2024-05-14T16:30:04.099"/>
    <p1510:client id="{D891FDA5-388A-44E5-8AB8-99B3681EF256}" v="13" dt="2024-05-15T07:19:21.45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040" autoAdjust="0"/>
    <p:restoredTop sz="87893" autoAdjust="0"/>
  </p:normalViewPr>
  <p:slideViewPr>
    <p:cSldViewPr snapToGrid="0" snapToObjects="1">
      <p:cViewPr varScale="1">
        <p:scale>
          <a:sx n="108" d="100"/>
          <a:sy n="108" d="100"/>
        </p:scale>
        <p:origin x="516" y="96"/>
      </p:cViewPr>
      <p:guideLst>
        <p:guide orient="horz" pos="2160"/>
        <p:guide pos="2162"/>
        <p:guide pos="302"/>
        <p:guide pos="7378"/>
        <p:guide orient="horz" pos="3974"/>
        <p:guide orient="horz" pos="323"/>
        <p:guide orient="horz" pos="1321"/>
        <p:guide orient="horz" pos="1911"/>
        <p:guide pos="3409"/>
        <p:guide orient="horz" pos="2908"/>
        <p:guide orient="horz"/>
        <p:guide pos="540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62" d="100"/>
          <a:sy n="62" d="100"/>
        </p:scale>
        <p:origin x="3154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rédéric POULIGNY" userId="6950b4c7-f9dc-4bc4-8fd5-997e947770fb" providerId="ADAL" clId="{D891FDA5-388A-44E5-8AB8-99B3681EF256}"/>
    <pc:docChg chg="undo custSel addSld delSld modSld modMainMaster">
      <pc:chgData name="Frédéric POULIGNY" userId="6950b4c7-f9dc-4bc4-8fd5-997e947770fb" providerId="ADAL" clId="{D891FDA5-388A-44E5-8AB8-99B3681EF256}" dt="2024-05-15T07:17:15.345" v="970" actId="404"/>
      <pc:docMkLst>
        <pc:docMk/>
      </pc:docMkLst>
      <pc:sldChg chg="addSp modSp mod">
        <pc:chgData name="Frédéric POULIGNY" userId="6950b4c7-f9dc-4bc4-8fd5-997e947770fb" providerId="ADAL" clId="{D891FDA5-388A-44E5-8AB8-99B3681EF256}" dt="2024-05-07T08:11:40.746" v="922" actId="1076"/>
        <pc:sldMkLst>
          <pc:docMk/>
          <pc:sldMk cId="4069880499" sldId="256"/>
        </pc:sldMkLst>
        <pc:spChg chg="mod">
          <ac:chgData name="Frédéric POULIGNY" userId="6950b4c7-f9dc-4bc4-8fd5-997e947770fb" providerId="ADAL" clId="{D891FDA5-388A-44E5-8AB8-99B3681EF256}" dt="2024-05-06T13:45:44.692" v="13" actId="6549"/>
          <ac:spMkLst>
            <pc:docMk/>
            <pc:sldMk cId="4069880499" sldId="256"/>
            <ac:spMk id="12" creationId="{0E55F214-F4A7-674A-B09F-A7B76CC21323}"/>
          </ac:spMkLst>
        </pc:spChg>
        <pc:spChg chg="mod">
          <ac:chgData name="Frédéric POULIGNY" userId="6950b4c7-f9dc-4bc4-8fd5-997e947770fb" providerId="ADAL" clId="{D891FDA5-388A-44E5-8AB8-99B3681EF256}" dt="2024-05-07T08:05:51.578" v="892" actId="20577"/>
          <ac:spMkLst>
            <pc:docMk/>
            <pc:sldMk cId="4069880499" sldId="256"/>
            <ac:spMk id="13" creationId="{2ECF3B9A-CB4F-EE43-9C47-B68155116887}"/>
          </ac:spMkLst>
        </pc:spChg>
        <pc:picChg chg="add mod">
          <ac:chgData name="Frédéric POULIGNY" userId="6950b4c7-f9dc-4bc4-8fd5-997e947770fb" providerId="ADAL" clId="{D891FDA5-388A-44E5-8AB8-99B3681EF256}" dt="2024-05-06T13:46:36.427" v="17" actId="1076"/>
          <ac:picMkLst>
            <pc:docMk/>
            <pc:sldMk cId="4069880499" sldId="256"/>
            <ac:picMk id="2" creationId="{D19564E7-06F5-C299-5AA4-3620BDCAF614}"/>
          </ac:picMkLst>
        </pc:picChg>
        <pc:picChg chg="add mod">
          <ac:chgData name="Frédéric POULIGNY" userId="6950b4c7-f9dc-4bc4-8fd5-997e947770fb" providerId="ADAL" clId="{D891FDA5-388A-44E5-8AB8-99B3681EF256}" dt="2024-05-07T08:11:40.746" v="922" actId="1076"/>
          <ac:picMkLst>
            <pc:docMk/>
            <pc:sldMk cId="4069880499" sldId="256"/>
            <ac:picMk id="4" creationId="{C5993924-50E9-820A-F9D6-DF6F77D90C53}"/>
          </ac:picMkLst>
        </pc:picChg>
      </pc:sldChg>
      <pc:sldChg chg="add del">
        <pc:chgData name="Frédéric POULIGNY" userId="6950b4c7-f9dc-4bc4-8fd5-997e947770fb" providerId="ADAL" clId="{D891FDA5-388A-44E5-8AB8-99B3681EF256}" dt="2024-05-07T07:51:18.161" v="557" actId="47"/>
        <pc:sldMkLst>
          <pc:docMk/>
          <pc:sldMk cId="3017719324" sldId="263"/>
        </pc:sldMkLst>
      </pc:sldChg>
      <pc:sldChg chg="addSp delSp modSp add mod modClrScheme modAnim chgLayout">
        <pc:chgData name="Frédéric POULIGNY" userId="6950b4c7-f9dc-4bc4-8fd5-997e947770fb" providerId="ADAL" clId="{D891FDA5-388A-44E5-8AB8-99B3681EF256}" dt="2024-05-15T07:17:15.345" v="970" actId="404"/>
        <pc:sldMkLst>
          <pc:docMk/>
          <pc:sldMk cId="113109465" sldId="265"/>
        </pc:sldMkLst>
        <pc:spChg chg="del mod ord">
          <ac:chgData name="Frédéric POULIGNY" userId="6950b4c7-f9dc-4bc4-8fd5-997e947770fb" providerId="ADAL" clId="{D891FDA5-388A-44E5-8AB8-99B3681EF256}" dt="2024-05-07T07:52:06.251" v="601" actId="478"/>
          <ac:spMkLst>
            <pc:docMk/>
            <pc:sldMk cId="113109465" sldId="265"/>
            <ac:spMk id="2" creationId="{0F891F89-1286-593C-3E29-911AC8E74D80}"/>
          </ac:spMkLst>
        </pc:spChg>
        <pc:spChg chg="add del mod">
          <ac:chgData name="Frédéric POULIGNY" userId="6950b4c7-f9dc-4bc4-8fd5-997e947770fb" providerId="ADAL" clId="{D891FDA5-388A-44E5-8AB8-99B3681EF256}" dt="2024-05-07T08:24:21.366" v="944" actId="478"/>
          <ac:spMkLst>
            <pc:docMk/>
            <pc:sldMk cId="113109465" sldId="265"/>
            <ac:spMk id="3" creationId="{457362D8-DF92-6416-E893-A487F6648F2B}"/>
          </ac:spMkLst>
        </pc:spChg>
        <pc:spChg chg="add mod">
          <ac:chgData name="Frédéric POULIGNY" userId="6950b4c7-f9dc-4bc4-8fd5-997e947770fb" providerId="ADAL" clId="{D891FDA5-388A-44E5-8AB8-99B3681EF256}" dt="2024-05-07T07:53:58.204" v="612" actId="14100"/>
          <ac:spMkLst>
            <pc:docMk/>
            <pc:sldMk cId="113109465" sldId="265"/>
            <ac:spMk id="4" creationId="{7AD8FAE3-5127-504F-EE72-F70948E48EAC}"/>
          </ac:spMkLst>
        </pc:spChg>
        <pc:spChg chg="del mod ord">
          <ac:chgData name="Frédéric POULIGNY" userId="6950b4c7-f9dc-4bc4-8fd5-997e947770fb" providerId="ADAL" clId="{D891FDA5-388A-44E5-8AB8-99B3681EF256}" dt="2024-05-07T07:52:48.845" v="606" actId="478"/>
          <ac:spMkLst>
            <pc:docMk/>
            <pc:sldMk cId="113109465" sldId="265"/>
            <ac:spMk id="5" creationId="{D197F49D-1F04-F64B-AE90-93F9F98C4B61}"/>
          </ac:spMkLst>
        </pc:spChg>
        <pc:spChg chg="del">
          <ac:chgData name="Frédéric POULIGNY" userId="6950b4c7-f9dc-4bc4-8fd5-997e947770fb" providerId="ADAL" clId="{D891FDA5-388A-44E5-8AB8-99B3681EF256}" dt="2024-05-07T07:51:23.064" v="558" actId="700"/>
          <ac:spMkLst>
            <pc:docMk/>
            <pc:sldMk cId="113109465" sldId="265"/>
            <ac:spMk id="6" creationId="{F7B45CBA-C372-F35B-485D-11A0D2ABFFF8}"/>
          </ac:spMkLst>
        </pc:spChg>
        <pc:spChg chg="del mod ord">
          <ac:chgData name="Frédéric POULIGNY" userId="6950b4c7-f9dc-4bc4-8fd5-997e947770fb" providerId="ADAL" clId="{D891FDA5-388A-44E5-8AB8-99B3681EF256}" dt="2024-05-07T08:24:09.770" v="943" actId="478"/>
          <ac:spMkLst>
            <pc:docMk/>
            <pc:sldMk cId="113109465" sldId="265"/>
            <ac:spMk id="7" creationId="{4F69945A-0729-8109-B67F-C625BFA12192}"/>
          </ac:spMkLst>
        </pc:spChg>
        <pc:spChg chg="mod">
          <ac:chgData name="Frédéric POULIGNY" userId="6950b4c7-f9dc-4bc4-8fd5-997e947770fb" providerId="ADAL" clId="{D891FDA5-388A-44E5-8AB8-99B3681EF256}" dt="2024-05-07T07:55:39.864" v="638" actId="1076"/>
          <ac:spMkLst>
            <pc:docMk/>
            <pc:sldMk cId="113109465" sldId="265"/>
            <ac:spMk id="9" creationId="{1E9991A3-AC77-3481-B767-839FB1ECF7E9}"/>
          </ac:spMkLst>
        </pc:spChg>
        <pc:spChg chg="mod">
          <ac:chgData name="Frédéric POULIGNY" userId="6950b4c7-f9dc-4bc4-8fd5-997e947770fb" providerId="ADAL" clId="{D891FDA5-388A-44E5-8AB8-99B3681EF256}" dt="2024-05-07T07:55:39.864" v="638" actId="1076"/>
          <ac:spMkLst>
            <pc:docMk/>
            <pc:sldMk cId="113109465" sldId="265"/>
            <ac:spMk id="10" creationId="{8FA66C00-F220-5CA2-D204-512D143BD85E}"/>
          </ac:spMkLst>
        </pc:spChg>
        <pc:spChg chg="mod">
          <ac:chgData name="Frédéric POULIGNY" userId="6950b4c7-f9dc-4bc4-8fd5-997e947770fb" providerId="ADAL" clId="{D891FDA5-388A-44E5-8AB8-99B3681EF256}" dt="2024-05-07T07:55:39.864" v="638" actId="1076"/>
          <ac:spMkLst>
            <pc:docMk/>
            <pc:sldMk cId="113109465" sldId="265"/>
            <ac:spMk id="11" creationId="{F68B82AD-E67F-5E12-62DF-AFB5C41B0C26}"/>
          </ac:spMkLst>
        </pc:spChg>
        <pc:spChg chg="mod">
          <ac:chgData name="Frédéric POULIGNY" userId="6950b4c7-f9dc-4bc4-8fd5-997e947770fb" providerId="ADAL" clId="{D891FDA5-388A-44E5-8AB8-99B3681EF256}" dt="2024-05-15T07:16:50.045" v="962" actId="14100"/>
          <ac:spMkLst>
            <pc:docMk/>
            <pc:sldMk cId="113109465" sldId="265"/>
            <ac:spMk id="12" creationId="{DBD60C3A-1ABC-21E8-9A1A-03C89099D5C5}"/>
          </ac:spMkLst>
        </pc:spChg>
        <pc:spChg chg="mod">
          <ac:chgData name="Frédéric POULIGNY" userId="6950b4c7-f9dc-4bc4-8fd5-997e947770fb" providerId="ADAL" clId="{D891FDA5-388A-44E5-8AB8-99B3681EF256}" dt="2024-05-07T07:55:39.864" v="638" actId="1076"/>
          <ac:spMkLst>
            <pc:docMk/>
            <pc:sldMk cId="113109465" sldId="265"/>
            <ac:spMk id="13" creationId="{953E7F1E-6F75-6BE6-9955-C827B48C2112}"/>
          </ac:spMkLst>
        </pc:spChg>
        <pc:spChg chg="mod">
          <ac:chgData name="Frédéric POULIGNY" userId="6950b4c7-f9dc-4bc4-8fd5-997e947770fb" providerId="ADAL" clId="{D891FDA5-388A-44E5-8AB8-99B3681EF256}" dt="2024-05-07T07:55:39.864" v="638" actId="1076"/>
          <ac:spMkLst>
            <pc:docMk/>
            <pc:sldMk cId="113109465" sldId="265"/>
            <ac:spMk id="14" creationId="{F3ED24FF-765B-5642-28EB-2F513673035D}"/>
          </ac:spMkLst>
        </pc:spChg>
        <pc:spChg chg="mod">
          <ac:chgData name="Frédéric POULIGNY" userId="6950b4c7-f9dc-4bc4-8fd5-997e947770fb" providerId="ADAL" clId="{D891FDA5-388A-44E5-8AB8-99B3681EF256}" dt="2024-05-07T07:55:39.864" v="638" actId="1076"/>
          <ac:spMkLst>
            <pc:docMk/>
            <pc:sldMk cId="113109465" sldId="265"/>
            <ac:spMk id="15" creationId="{4E5656BE-68E3-7177-6382-28FD04A71C9A}"/>
          </ac:spMkLst>
        </pc:spChg>
        <pc:spChg chg="mod">
          <ac:chgData name="Frédéric POULIGNY" userId="6950b4c7-f9dc-4bc4-8fd5-997e947770fb" providerId="ADAL" clId="{D891FDA5-388A-44E5-8AB8-99B3681EF256}" dt="2024-05-07T07:55:39.864" v="638" actId="1076"/>
          <ac:spMkLst>
            <pc:docMk/>
            <pc:sldMk cId="113109465" sldId="265"/>
            <ac:spMk id="16" creationId="{141EF72D-3FD3-8FEA-E429-0EDEBBAFFBAF}"/>
          </ac:spMkLst>
        </pc:spChg>
        <pc:spChg chg="mod">
          <ac:chgData name="Frédéric POULIGNY" userId="6950b4c7-f9dc-4bc4-8fd5-997e947770fb" providerId="ADAL" clId="{D891FDA5-388A-44E5-8AB8-99B3681EF256}" dt="2024-05-07T07:55:39.864" v="638" actId="1076"/>
          <ac:spMkLst>
            <pc:docMk/>
            <pc:sldMk cId="113109465" sldId="265"/>
            <ac:spMk id="17" creationId="{07978356-8E28-2891-B16B-6C9F5868CAC0}"/>
          </ac:spMkLst>
        </pc:spChg>
        <pc:spChg chg="mod">
          <ac:chgData name="Frédéric POULIGNY" userId="6950b4c7-f9dc-4bc4-8fd5-997e947770fb" providerId="ADAL" clId="{D891FDA5-388A-44E5-8AB8-99B3681EF256}" dt="2024-05-07T07:55:39.864" v="638" actId="1076"/>
          <ac:spMkLst>
            <pc:docMk/>
            <pc:sldMk cId="113109465" sldId="265"/>
            <ac:spMk id="18" creationId="{1C08AAC9-ADC1-0989-5D58-4A9FFB1C9FA4}"/>
          </ac:spMkLst>
        </pc:spChg>
        <pc:spChg chg="mod">
          <ac:chgData name="Frédéric POULIGNY" userId="6950b4c7-f9dc-4bc4-8fd5-997e947770fb" providerId="ADAL" clId="{D891FDA5-388A-44E5-8AB8-99B3681EF256}" dt="2024-05-07T07:55:39.864" v="638" actId="1076"/>
          <ac:spMkLst>
            <pc:docMk/>
            <pc:sldMk cId="113109465" sldId="265"/>
            <ac:spMk id="19" creationId="{025DB396-3435-6E1E-E4CD-C65CDCFDF665}"/>
          </ac:spMkLst>
        </pc:spChg>
        <pc:spChg chg="mod">
          <ac:chgData name="Frédéric POULIGNY" userId="6950b4c7-f9dc-4bc4-8fd5-997e947770fb" providerId="ADAL" clId="{D891FDA5-388A-44E5-8AB8-99B3681EF256}" dt="2024-05-07T07:55:39.864" v="638" actId="1076"/>
          <ac:spMkLst>
            <pc:docMk/>
            <pc:sldMk cId="113109465" sldId="265"/>
            <ac:spMk id="20" creationId="{CC651108-99D4-FF40-7E00-66FC1991F21E}"/>
          </ac:spMkLst>
        </pc:spChg>
        <pc:spChg chg="mod">
          <ac:chgData name="Frédéric POULIGNY" userId="6950b4c7-f9dc-4bc4-8fd5-997e947770fb" providerId="ADAL" clId="{D891FDA5-388A-44E5-8AB8-99B3681EF256}" dt="2024-05-15T07:16:54.676" v="969" actId="1036"/>
          <ac:spMkLst>
            <pc:docMk/>
            <pc:sldMk cId="113109465" sldId="265"/>
            <ac:spMk id="21" creationId="{44414C56-BFC5-6D3E-79B3-8DEBF166D15B}"/>
          </ac:spMkLst>
        </pc:spChg>
        <pc:spChg chg="mod">
          <ac:chgData name="Frédéric POULIGNY" userId="6950b4c7-f9dc-4bc4-8fd5-997e947770fb" providerId="ADAL" clId="{D891FDA5-388A-44E5-8AB8-99B3681EF256}" dt="2024-05-07T07:55:39.864" v="638" actId="1076"/>
          <ac:spMkLst>
            <pc:docMk/>
            <pc:sldMk cId="113109465" sldId="265"/>
            <ac:spMk id="22" creationId="{BE70A0C1-D489-E7BE-4487-B87E40AE2ACC}"/>
          </ac:spMkLst>
        </pc:spChg>
        <pc:spChg chg="mod">
          <ac:chgData name="Frédéric POULIGNY" userId="6950b4c7-f9dc-4bc4-8fd5-997e947770fb" providerId="ADAL" clId="{D891FDA5-388A-44E5-8AB8-99B3681EF256}" dt="2024-05-07T07:56:10.838" v="658" actId="1035"/>
          <ac:spMkLst>
            <pc:docMk/>
            <pc:sldMk cId="113109465" sldId="265"/>
            <ac:spMk id="23" creationId="{C2D374CD-DFEB-A67D-3373-992F320CB2EB}"/>
          </ac:spMkLst>
        </pc:spChg>
        <pc:spChg chg="mod">
          <ac:chgData name="Frédéric POULIGNY" userId="6950b4c7-f9dc-4bc4-8fd5-997e947770fb" providerId="ADAL" clId="{D891FDA5-388A-44E5-8AB8-99B3681EF256}" dt="2024-05-07T07:55:39.864" v="638" actId="1076"/>
          <ac:spMkLst>
            <pc:docMk/>
            <pc:sldMk cId="113109465" sldId="265"/>
            <ac:spMk id="25" creationId="{8781D739-2936-95F6-B02B-322E6420E53E}"/>
          </ac:spMkLst>
        </pc:spChg>
        <pc:spChg chg="mod">
          <ac:chgData name="Frédéric POULIGNY" userId="6950b4c7-f9dc-4bc4-8fd5-997e947770fb" providerId="ADAL" clId="{D891FDA5-388A-44E5-8AB8-99B3681EF256}" dt="2024-05-07T07:55:39.864" v="638" actId="1076"/>
          <ac:spMkLst>
            <pc:docMk/>
            <pc:sldMk cId="113109465" sldId="265"/>
            <ac:spMk id="28" creationId="{372C5F49-74B7-771A-CFDA-28B877217EDA}"/>
          </ac:spMkLst>
        </pc:spChg>
        <pc:spChg chg="mod">
          <ac:chgData name="Frédéric POULIGNY" userId="6950b4c7-f9dc-4bc4-8fd5-997e947770fb" providerId="ADAL" clId="{D891FDA5-388A-44E5-8AB8-99B3681EF256}" dt="2024-05-07T07:55:39.864" v="638" actId="1076"/>
          <ac:spMkLst>
            <pc:docMk/>
            <pc:sldMk cId="113109465" sldId="265"/>
            <ac:spMk id="30" creationId="{B1742C35-1F97-AEDB-C465-CFB33691214B}"/>
          </ac:spMkLst>
        </pc:spChg>
        <pc:spChg chg="mod">
          <ac:chgData name="Frédéric POULIGNY" userId="6950b4c7-f9dc-4bc4-8fd5-997e947770fb" providerId="ADAL" clId="{D891FDA5-388A-44E5-8AB8-99B3681EF256}" dt="2024-05-07T07:55:39.864" v="638" actId="1076"/>
          <ac:spMkLst>
            <pc:docMk/>
            <pc:sldMk cId="113109465" sldId="265"/>
            <ac:spMk id="31" creationId="{151A4C5E-5C3A-D701-B3D6-D8FC0B8FF69B}"/>
          </ac:spMkLst>
        </pc:spChg>
        <pc:spChg chg="mod">
          <ac:chgData name="Frédéric POULIGNY" userId="6950b4c7-f9dc-4bc4-8fd5-997e947770fb" providerId="ADAL" clId="{D891FDA5-388A-44E5-8AB8-99B3681EF256}" dt="2024-05-07T07:55:39.864" v="638" actId="1076"/>
          <ac:spMkLst>
            <pc:docMk/>
            <pc:sldMk cId="113109465" sldId="265"/>
            <ac:spMk id="33" creationId="{D48882E0-3140-6BD6-25CF-7233804FB470}"/>
          </ac:spMkLst>
        </pc:spChg>
        <pc:spChg chg="mod">
          <ac:chgData name="Frédéric POULIGNY" userId="6950b4c7-f9dc-4bc4-8fd5-997e947770fb" providerId="ADAL" clId="{D891FDA5-388A-44E5-8AB8-99B3681EF256}" dt="2024-05-07T07:56:05.731" v="657" actId="1035"/>
          <ac:spMkLst>
            <pc:docMk/>
            <pc:sldMk cId="113109465" sldId="265"/>
            <ac:spMk id="35" creationId="{041EF4DE-476A-672E-32E8-A7963022AD1D}"/>
          </ac:spMkLst>
        </pc:spChg>
        <pc:spChg chg="mod">
          <ac:chgData name="Frédéric POULIGNY" userId="6950b4c7-f9dc-4bc4-8fd5-997e947770fb" providerId="ADAL" clId="{D891FDA5-388A-44E5-8AB8-99B3681EF256}" dt="2024-05-07T07:55:39.864" v="638" actId="1076"/>
          <ac:spMkLst>
            <pc:docMk/>
            <pc:sldMk cId="113109465" sldId="265"/>
            <ac:spMk id="37" creationId="{07F05B4C-E63E-E931-D845-34A87530C2CA}"/>
          </ac:spMkLst>
        </pc:spChg>
        <pc:spChg chg="mod">
          <ac:chgData name="Frédéric POULIGNY" userId="6950b4c7-f9dc-4bc4-8fd5-997e947770fb" providerId="ADAL" clId="{D891FDA5-388A-44E5-8AB8-99B3681EF256}" dt="2024-05-07T07:55:39.864" v="638" actId="1076"/>
          <ac:spMkLst>
            <pc:docMk/>
            <pc:sldMk cId="113109465" sldId="265"/>
            <ac:spMk id="40" creationId="{E967E878-898D-C59B-82D1-69EEDA09228E}"/>
          </ac:spMkLst>
        </pc:spChg>
        <pc:spChg chg="mod">
          <ac:chgData name="Frédéric POULIGNY" userId="6950b4c7-f9dc-4bc4-8fd5-997e947770fb" providerId="ADAL" clId="{D891FDA5-388A-44E5-8AB8-99B3681EF256}" dt="2024-05-07T07:56:01.991" v="652" actId="1036"/>
          <ac:spMkLst>
            <pc:docMk/>
            <pc:sldMk cId="113109465" sldId="265"/>
            <ac:spMk id="45" creationId="{5E67FF78-271D-BC9B-236B-D88D8D0E49BB}"/>
          </ac:spMkLst>
        </pc:spChg>
        <pc:spChg chg="mod">
          <ac:chgData name="Frédéric POULIGNY" userId="6950b4c7-f9dc-4bc4-8fd5-997e947770fb" providerId="ADAL" clId="{D891FDA5-388A-44E5-8AB8-99B3681EF256}" dt="2024-05-07T07:55:39.864" v="638" actId="1076"/>
          <ac:spMkLst>
            <pc:docMk/>
            <pc:sldMk cId="113109465" sldId="265"/>
            <ac:spMk id="47" creationId="{08872A39-93DA-B1D8-32FC-FF33255586EA}"/>
          </ac:spMkLst>
        </pc:spChg>
        <pc:spChg chg="mod">
          <ac:chgData name="Frédéric POULIGNY" userId="6950b4c7-f9dc-4bc4-8fd5-997e947770fb" providerId="ADAL" clId="{D891FDA5-388A-44E5-8AB8-99B3681EF256}" dt="2024-05-15T07:16:54.676" v="969" actId="1036"/>
          <ac:spMkLst>
            <pc:docMk/>
            <pc:sldMk cId="113109465" sldId="265"/>
            <ac:spMk id="49" creationId="{C77E4FFC-51A8-121F-06C0-9D82758996BF}"/>
          </ac:spMkLst>
        </pc:spChg>
        <pc:spChg chg="mod">
          <ac:chgData name="Frédéric POULIGNY" userId="6950b4c7-f9dc-4bc4-8fd5-997e947770fb" providerId="ADAL" clId="{D891FDA5-388A-44E5-8AB8-99B3681EF256}" dt="2024-05-07T07:55:39.864" v="638" actId="1076"/>
          <ac:spMkLst>
            <pc:docMk/>
            <pc:sldMk cId="113109465" sldId="265"/>
            <ac:spMk id="50" creationId="{4A692B3C-4F39-64CD-54F0-64C8F44FDC82}"/>
          </ac:spMkLst>
        </pc:spChg>
        <pc:spChg chg="mod">
          <ac:chgData name="Frédéric POULIGNY" userId="6950b4c7-f9dc-4bc4-8fd5-997e947770fb" providerId="ADAL" clId="{D891FDA5-388A-44E5-8AB8-99B3681EF256}" dt="2024-05-07T07:55:39.864" v="638" actId="1076"/>
          <ac:spMkLst>
            <pc:docMk/>
            <pc:sldMk cId="113109465" sldId="265"/>
            <ac:spMk id="52" creationId="{A4A46906-552D-5518-2264-4FEDE20C413F}"/>
          </ac:spMkLst>
        </pc:spChg>
        <pc:spChg chg="add del mod">
          <ac:chgData name="Frédéric POULIGNY" userId="6950b4c7-f9dc-4bc4-8fd5-997e947770fb" providerId="ADAL" clId="{D891FDA5-388A-44E5-8AB8-99B3681EF256}" dt="2024-05-07T07:57:23.684" v="727" actId="478"/>
          <ac:spMkLst>
            <pc:docMk/>
            <pc:sldMk cId="113109465" sldId="265"/>
            <ac:spMk id="54" creationId="{04B85810-0131-E2F0-5971-8B4C5D03A804}"/>
          </ac:spMkLst>
        </pc:spChg>
        <pc:spChg chg="add mod">
          <ac:chgData name="Frédéric POULIGNY" userId="6950b4c7-f9dc-4bc4-8fd5-997e947770fb" providerId="ADAL" clId="{D891FDA5-388A-44E5-8AB8-99B3681EF256}" dt="2024-05-07T08:23:56.776" v="940" actId="27636"/>
          <ac:spMkLst>
            <pc:docMk/>
            <pc:sldMk cId="113109465" sldId="265"/>
            <ac:spMk id="55" creationId="{C442E50C-D73E-1AE0-F364-07FF30FEA244}"/>
          </ac:spMkLst>
        </pc:spChg>
        <pc:spChg chg="add del mod">
          <ac:chgData name="Frédéric POULIGNY" userId="6950b4c7-f9dc-4bc4-8fd5-997e947770fb" providerId="ADAL" clId="{D891FDA5-388A-44E5-8AB8-99B3681EF256}" dt="2024-05-07T07:56:57.433" v="663" actId="478"/>
          <ac:spMkLst>
            <pc:docMk/>
            <pc:sldMk cId="113109465" sldId="265"/>
            <ac:spMk id="56" creationId="{5D16AA30-DB44-0867-EA9E-4DF72C4FFF05}"/>
          </ac:spMkLst>
        </pc:spChg>
        <pc:spChg chg="add mod">
          <ac:chgData name="Frédéric POULIGNY" userId="6950b4c7-f9dc-4bc4-8fd5-997e947770fb" providerId="ADAL" clId="{D891FDA5-388A-44E5-8AB8-99B3681EF256}" dt="2024-05-15T07:17:15.345" v="970" actId="404"/>
          <ac:spMkLst>
            <pc:docMk/>
            <pc:sldMk cId="113109465" sldId="265"/>
            <ac:spMk id="57" creationId="{3A2A200C-B6E9-2A0A-CBB9-ACF399C7A765}"/>
          </ac:spMkLst>
        </pc:spChg>
        <pc:spChg chg="add mod">
          <ac:chgData name="Frédéric POULIGNY" userId="6950b4c7-f9dc-4bc4-8fd5-997e947770fb" providerId="ADAL" clId="{D891FDA5-388A-44E5-8AB8-99B3681EF256}" dt="2024-05-07T07:59:59.835" v="765" actId="1076"/>
          <ac:spMkLst>
            <pc:docMk/>
            <pc:sldMk cId="113109465" sldId="265"/>
            <ac:spMk id="58" creationId="{25211D63-BADD-39EF-0D28-95BE414735A3}"/>
          </ac:spMkLst>
        </pc:spChg>
        <pc:spChg chg="add del mod">
          <ac:chgData name="Frédéric POULIGNY" userId="6950b4c7-f9dc-4bc4-8fd5-997e947770fb" providerId="ADAL" clId="{D891FDA5-388A-44E5-8AB8-99B3681EF256}" dt="2024-05-07T07:56:57.433" v="663" actId="478"/>
          <ac:spMkLst>
            <pc:docMk/>
            <pc:sldMk cId="113109465" sldId="265"/>
            <ac:spMk id="59" creationId="{17747492-02AD-4E27-3F16-FD31B61CD622}"/>
          </ac:spMkLst>
        </pc:spChg>
        <pc:spChg chg="add mod">
          <ac:chgData name="Frédéric POULIGNY" userId="6950b4c7-f9dc-4bc4-8fd5-997e947770fb" providerId="ADAL" clId="{D891FDA5-388A-44E5-8AB8-99B3681EF256}" dt="2024-05-07T07:59:55.700" v="764" actId="1076"/>
          <ac:spMkLst>
            <pc:docMk/>
            <pc:sldMk cId="113109465" sldId="265"/>
            <ac:spMk id="60" creationId="{11642ABD-58BF-F347-7FF2-434659EC830A}"/>
          </ac:spMkLst>
        </pc:spChg>
        <pc:spChg chg="add del mod">
          <ac:chgData name="Frédéric POULIGNY" userId="6950b4c7-f9dc-4bc4-8fd5-997e947770fb" providerId="ADAL" clId="{D891FDA5-388A-44E5-8AB8-99B3681EF256}" dt="2024-05-07T07:57:25.997" v="728" actId="478"/>
          <ac:spMkLst>
            <pc:docMk/>
            <pc:sldMk cId="113109465" sldId="265"/>
            <ac:spMk id="61" creationId="{CB324DA8-D14F-07CE-90F3-9979CDCADF49}"/>
          </ac:spMkLst>
        </pc:spChg>
        <pc:spChg chg="add mod">
          <ac:chgData name="Frédéric POULIGNY" userId="6950b4c7-f9dc-4bc4-8fd5-997e947770fb" providerId="ADAL" clId="{D891FDA5-388A-44E5-8AB8-99B3681EF256}" dt="2024-05-07T08:24:21.837" v="945"/>
          <ac:spMkLst>
            <pc:docMk/>
            <pc:sldMk cId="113109465" sldId="265"/>
            <ac:spMk id="64" creationId="{A83D6E2A-4218-EF78-DA88-CCB6970EE4E5}"/>
          </ac:spMkLst>
        </pc:spChg>
        <pc:grpChg chg="mod">
          <ac:chgData name="Frédéric POULIGNY" userId="6950b4c7-f9dc-4bc4-8fd5-997e947770fb" providerId="ADAL" clId="{D891FDA5-388A-44E5-8AB8-99B3681EF256}" dt="2024-05-07T07:55:39.864" v="638" actId="1076"/>
          <ac:grpSpMkLst>
            <pc:docMk/>
            <pc:sldMk cId="113109465" sldId="265"/>
            <ac:grpSpMk id="24" creationId="{317553C0-8AC2-35DE-55BB-F3AAE20C0921}"/>
          </ac:grpSpMkLst>
        </pc:grpChg>
        <pc:grpChg chg="mod">
          <ac:chgData name="Frédéric POULIGNY" userId="6950b4c7-f9dc-4bc4-8fd5-997e947770fb" providerId="ADAL" clId="{D891FDA5-388A-44E5-8AB8-99B3681EF256}" dt="2024-05-07T07:55:39.864" v="638" actId="1076"/>
          <ac:grpSpMkLst>
            <pc:docMk/>
            <pc:sldMk cId="113109465" sldId="265"/>
            <ac:grpSpMk id="27" creationId="{27E6DBF6-DFA5-E145-912D-5C75ABECA9DC}"/>
          </ac:grpSpMkLst>
        </pc:grpChg>
        <pc:grpChg chg="mod">
          <ac:chgData name="Frédéric POULIGNY" userId="6950b4c7-f9dc-4bc4-8fd5-997e947770fb" providerId="ADAL" clId="{D891FDA5-388A-44E5-8AB8-99B3681EF256}" dt="2024-05-07T07:55:39.864" v="638" actId="1076"/>
          <ac:grpSpMkLst>
            <pc:docMk/>
            <pc:sldMk cId="113109465" sldId="265"/>
            <ac:grpSpMk id="32" creationId="{E8B01C68-186A-DD81-00D7-B8704D51D6DE}"/>
          </ac:grpSpMkLst>
        </pc:grpChg>
        <pc:grpChg chg="mod">
          <ac:chgData name="Frédéric POULIGNY" userId="6950b4c7-f9dc-4bc4-8fd5-997e947770fb" providerId="ADAL" clId="{D891FDA5-388A-44E5-8AB8-99B3681EF256}" dt="2024-05-07T07:55:39.864" v="638" actId="1076"/>
          <ac:grpSpMkLst>
            <pc:docMk/>
            <pc:sldMk cId="113109465" sldId="265"/>
            <ac:grpSpMk id="36" creationId="{A08ADA38-3355-EDCE-4A87-187F45322B20}"/>
          </ac:grpSpMkLst>
        </pc:grpChg>
        <pc:grpChg chg="mod">
          <ac:chgData name="Frédéric POULIGNY" userId="6950b4c7-f9dc-4bc4-8fd5-997e947770fb" providerId="ADAL" clId="{D891FDA5-388A-44E5-8AB8-99B3681EF256}" dt="2024-05-07T07:55:39.864" v="638" actId="1076"/>
          <ac:grpSpMkLst>
            <pc:docMk/>
            <pc:sldMk cId="113109465" sldId="265"/>
            <ac:grpSpMk id="39" creationId="{D4A99EAD-3436-4BB8-957E-146E4F0EC7EB}"/>
          </ac:grpSpMkLst>
        </pc:grpChg>
        <pc:grpChg chg="mod">
          <ac:chgData name="Frédéric POULIGNY" userId="6950b4c7-f9dc-4bc4-8fd5-997e947770fb" providerId="ADAL" clId="{D891FDA5-388A-44E5-8AB8-99B3681EF256}" dt="2024-05-07T07:55:39.864" v="638" actId="1076"/>
          <ac:grpSpMkLst>
            <pc:docMk/>
            <pc:sldMk cId="113109465" sldId="265"/>
            <ac:grpSpMk id="41" creationId="{0F17CDC8-FED4-2201-D50E-56325F9149BE}"/>
          </ac:grpSpMkLst>
        </pc:grpChg>
        <pc:grpChg chg="mod">
          <ac:chgData name="Frédéric POULIGNY" userId="6950b4c7-f9dc-4bc4-8fd5-997e947770fb" providerId="ADAL" clId="{D891FDA5-388A-44E5-8AB8-99B3681EF256}" dt="2024-05-07T07:55:39.864" v="638" actId="1076"/>
          <ac:grpSpMkLst>
            <pc:docMk/>
            <pc:sldMk cId="113109465" sldId="265"/>
            <ac:grpSpMk id="46" creationId="{F9FD9147-EBE3-3D43-5A3B-73CFC2E83287}"/>
          </ac:grpSpMkLst>
        </pc:grpChg>
        <pc:grpChg chg="mod">
          <ac:chgData name="Frédéric POULIGNY" userId="6950b4c7-f9dc-4bc4-8fd5-997e947770fb" providerId="ADAL" clId="{D891FDA5-388A-44E5-8AB8-99B3681EF256}" dt="2024-05-07T07:55:39.864" v="638" actId="1076"/>
          <ac:grpSpMkLst>
            <pc:docMk/>
            <pc:sldMk cId="113109465" sldId="265"/>
            <ac:grpSpMk id="51" creationId="{9829AAD9-EF8F-4929-EAE6-67F8E67BD5B3}"/>
          </ac:grpSpMkLst>
        </pc:grpChg>
        <pc:grpChg chg="del">
          <ac:chgData name="Frédéric POULIGNY" userId="6950b4c7-f9dc-4bc4-8fd5-997e947770fb" providerId="ADAL" clId="{D891FDA5-388A-44E5-8AB8-99B3681EF256}" dt="2024-05-15T07:13:47.341" v="961" actId="478"/>
          <ac:grpSpMkLst>
            <pc:docMk/>
            <pc:sldMk cId="113109465" sldId="265"/>
            <ac:grpSpMk id="76" creationId="{C176CF6C-81F7-F61C-29D2-3E6BEA702273}"/>
          </ac:grpSpMkLst>
        </pc:grpChg>
        <pc:picChg chg="mod">
          <ac:chgData name="Frédéric POULIGNY" userId="6950b4c7-f9dc-4bc4-8fd5-997e947770fb" providerId="ADAL" clId="{D891FDA5-388A-44E5-8AB8-99B3681EF256}" dt="2024-05-07T07:55:39.864" v="638" actId="1076"/>
          <ac:picMkLst>
            <pc:docMk/>
            <pc:sldMk cId="113109465" sldId="265"/>
            <ac:picMk id="26" creationId="{91A3D64C-2025-8543-F72F-6E9B2C0FE28F}"/>
          </ac:picMkLst>
        </pc:picChg>
        <pc:picChg chg="mod">
          <ac:chgData name="Frédéric POULIGNY" userId="6950b4c7-f9dc-4bc4-8fd5-997e947770fb" providerId="ADAL" clId="{D891FDA5-388A-44E5-8AB8-99B3681EF256}" dt="2024-05-07T07:55:39.864" v="638" actId="1076"/>
          <ac:picMkLst>
            <pc:docMk/>
            <pc:sldMk cId="113109465" sldId="265"/>
            <ac:picMk id="29" creationId="{EC1C2496-8AD8-3C36-777E-C1D6FC712BF1}"/>
          </ac:picMkLst>
        </pc:picChg>
        <pc:picChg chg="mod">
          <ac:chgData name="Frédéric POULIGNY" userId="6950b4c7-f9dc-4bc4-8fd5-997e947770fb" providerId="ADAL" clId="{D891FDA5-388A-44E5-8AB8-99B3681EF256}" dt="2024-05-07T07:55:39.864" v="638" actId="1076"/>
          <ac:picMkLst>
            <pc:docMk/>
            <pc:sldMk cId="113109465" sldId="265"/>
            <ac:picMk id="34" creationId="{BFB9F9C4-02FF-634F-8F2E-A01E42C1C6C1}"/>
          </ac:picMkLst>
        </pc:picChg>
        <pc:picChg chg="mod">
          <ac:chgData name="Frédéric POULIGNY" userId="6950b4c7-f9dc-4bc4-8fd5-997e947770fb" providerId="ADAL" clId="{D891FDA5-388A-44E5-8AB8-99B3681EF256}" dt="2024-05-07T07:55:39.864" v="638" actId="1076"/>
          <ac:picMkLst>
            <pc:docMk/>
            <pc:sldMk cId="113109465" sldId="265"/>
            <ac:picMk id="38" creationId="{9FFDA8F7-5B85-EDCC-F756-8A51A0478A9F}"/>
          </ac:picMkLst>
        </pc:picChg>
        <pc:picChg chg="mod">
          <ac:chgData name="Frédéric POULIGNY" userId="6950b4c7-f9dc-4bc4-8fd5-997e947770fb" providerId="ADAL" clId="{D891FDA5-388A-44E5-8AB8-99B3681EF256}" dt="2024-05-07T07:55:39.864" v="638" actId="1076"/>
          <ac:picMkLst>
            <pc:docMk/>
            <pc:sldMk cId="113109465" sldId="265"/>
            <ac:picMk id="42" creationId="{8DEA3FB8-DF8B-B421-8D85-BBC2599FE32A}"/>
          </ac:picMkLst>
        </pc:picChg>
        <pc:picChg chg="mod">
          <ac:chgData name="Frédéric POULIGNY" userId="6950b4c7-f9dc-4bc4-8fd5-997e947770fb" providerId="ADAL" clId="{D891FDA5-388A-44E5-8AB8-99B3681EF256}" dt="2024-05-07T07:55:39.864" v="638" actId="1076"/>
          <ac:picMkLst>
            <pc:docMk/>
            <pc:sldMk cId="113109465" sldId="265"/>
            <ac:picMk id="43" creationId="{D3AD8C8C-3DCF-B021-CA54-6276CE78C971}"/>
          </ac:picMkLst>
        </pc:picChg>
        <pc:picChg chg="mod">
          <ac:chgData name="Frédéric POULIGNY" userId="6950b4c7-f9dc-4bc4-8fd5-997e947770fb" providerId="ADAL" clId="{D891FDA5-388A-44E5-8AB8-99B3681EF256}" dt="2024-05-07T07:55:39.864" v="638" actId="1076"/>
          <ac:picMkLst>
            <pc:docMk/>
            <pc:sldMk cId="113109465" sldId="265"/>
            <ac:picMk id="44" creationId="{371DA6FD-E0BE-3593-551D-EFE273A35152}"/>
          </ac:picMkLst>
        </pc:picChg>
        <pc:picChg chg="mod">
          <ac:chgData name="Frédéric POULIGNY" userId="6950b4c7-f9dc-4bc4-8fd5-997e947770fb" providerId="ADAL" clId="{D891FDA5-388A-44E5-8AB8-99B3681EF256}" dt="2024-05-07T07:55:39.864" v="638" actId="1076"/>
          <ac:picMkLst>
            <pc:docMk/>
            <pc:sldMk cId="113109465" sldId="265"/>
            <ac:picMk id="48" creationId="{1E8D5AA5-57B9-E11B-CFBB-A1EC771B0CC0}"/>
          </ac:picMkLst>
        </pc:picChg>
        <pc:picChg chg="mod">
          <ac:chgData name="Frédéric POULIGNY" userId="6950b4c7-f9dc-4bc4-8fd5-997e947770fb" providerId="ADAL" clId="{D891FDA5-388A-44E5-8AB8-99B3681EF256}" dt="2024-05-07T07:55:39.864" v="638" actId="1076"/>
          <ac:picMkLst>
            <pc:docMk/>
            <pc:sldMk cId="113109465" sldId="265"/>
            <ac:picMk id="53" creationId="{655D6745-FA79-439C-ED94-E0BFC76DF1CC}"/>
          </ac:picMkLst>
        </pc:picChg>
        <pc:cxnChg chg="mod">
          <ac:chgData name="Frédéric POULIGNY" userId="6950b4c7-f9dc-4bc4-8fd5-997e947770fb" providerId="ADAL" clId="{D891FDA5-388A-44E5-8AB8-99B3681EF256}" dt="2024-05-07T07:55:39.864" v="638" actId="1076"/>
          <ac:cxnSpMkLst>
            <pc:docMk/>
            <pc:sldMk cId="113109465" sldId="265"/>
            <ac:cxnSpMk id="8" creationId="{94CD976F-C5F7-13BD-57CD-CC3A0B9B204E}"/>
          </ac:cxnSpMkLst>
        </pc:cxnChg>
        <pc:cxnChg chg="add mod">
          <ac:chgData name="Frédéric POULIGNY" userId="6950b4c7-f9dc-4bc4-8fd5-997e947770fb" providerId="ADAL" clId="{D891FDA5-388A-44E5-8AB8-99B3681EF256}" dt="2024-05-07T08:12:56.482" v="925" actId="1076"/>
          <ac:cxnSpMkLst>
            <pc:docMk/>
            <pc:sldMk cId="113109465" sldId="265"/>
            <ac:cxnSpMk id="63" creationId="{456C7907-FDCA-627F-89E3-09864CB007CA}"/>
          </ac:cxnSpMkLst>
        </pc:cxnChg>
      </pc:sldChg>
      <pc:sldChg chg="addSp delSp modSp del mod modAnim">
        <pc:chgData name="Frédéric POULIGNY" userId="6950b4c7-f9dc-4bc4-8fd5-997e947770fb" providerId="ADAL" clId="{D891FDA5-388A-44E5-8AB8-99B3681EF256}" dt="2024-05-06T13:51:05.270" v="361" actId="47"/>
        <pc:sldMkLst>
          <pc:docMk/>
          <pc:sldMk cId="1200663638" sldId="300"/>
        </pc:sldMkLst>
        <pc:spChg chg="add mod">
          <ac:chgData name="Frédéric POULIGNY" userId="6950b4c7-f9dc-4bc4-8fd5-997e947770fb" providerId="ADAL" clId="{D891FDA5-388A-44E5-8AB8-99B3681EF256}" dt="2024-05-06T13:50:06.858" v="354" actId="1076"/>
          <ac:spMkLst>
            <pc:docMk/>
            <pc:sldMk cId="1200663638" sldId="300"/>
            <ac:spMk id="3" creationId="{18A48043-948B-74C6-8E15-F56326C30ADE}"/>
          </ac:spMkLst>
        </pc:spChg>
        <pc:spChg chg="add del mod">
          <ac:chgData name="Frédéric POULIGNY" userId="6950b4c7-f9dc-4bc4-8fd5-997e947770fb" providerId="ADAL" clId="{D891FDA5-388A-44E5-8AB8-99B3681EF256}" dt="2024-05-06T13:50:10.547" v="355" actId="478"/>
          <ac:spMkLst>
            <pc:docMk/>
            <pc:sldMk cId="1200663638" sldId="300"/>
            <ac:spMk id="6" creationId="{186239BC-1418-3003-3250-18F1EB1A007C}"/>
          </ac:spMkLst>
        </pc:spChg>
        <pc:spChg chg="add mod">
          <ac:chgData name="Frédéric POULIGNY" userId="6950b4c7-f9dc-4bc4-8fd5-997e947770fb" providerId="ADAL" clId="{D891FDA5-388A-44E5-8AB8-99B3681EF256}" dt="2024-05-06T13:50:06.858" v="354" actId="1076"/>
          <ac:spMkLst>
            <pc:docMk/>
            <pc:sldMk cId="1200663638" sldId="300"/>
            <ac:spMk id="7" creationId="{95486AF8-5E3B-E7DA-AF18-325BA0DD4CDF}"/>
          </ac:spMkLst>
        </pc:spChg>
        <pc:spChg chg="add mod">
          <ac:chgData name="Frédéric POULIGNY" userId="6950b4c7-f9dc-4bc4-8fd5-997e947770fb" providerId="ADAL" clId="{D891FDA5-388A-44E5-8AB8-99B3681EF256}" dt="2024-05-06T13:50:06.858" v="354" actId="1076"/>
          <ac:spMkLst>
            <pc:docMk/>
            <pc:sldMk cId="1200663638" sldId="300"/>
            <ac:spMk id="8" creationId="{9F231CA4-E1E3-305C-6691-6693FFA5B958}"/>
          </ac:spMkLst>
        </pc:spChg>
        <pc:spChg chg="add mod">
          <ac:chgData name="Frédéric POULIGNY" userId="6950b4c7-f9dc-4bc4-8fd5-997e947770fb" providerId="ADAL" clId="{D891FDA5-388A-44E5-8AB8-99B3681EF256}" dt="2024-05-06T13:50:06.858" v="354" actId="1076"/>
          <ac:spMkLst>
            <pc:docMk/>
            <pc:sldMk cId="1200663638" sldId="300"/>
            <ac:spMk id="9" creationId="{5EE3CFC0-AE34-3642-8FFF-1E5AD9EF6919}"/>
          </ac:spMkLst>
        </pc:spChg>
        <pc:spChg chg="add mod">
          <ac:chgData name="Frédéric POULIGNY" userId="6950b4c7-f9dc-4bc4-8fd5-997e947770fb" providerId="ADAL" clId="{D891FDA5-388A-44E5-8AB8-99B3681EF256}" dt="2024-05-06T13:50:06.858" v="354" actId="1076"/>
          <ac:spMkLst>
            <pc:docMk/>
            <pc:sldMk cId="1200663638" sldId="300"/>
            <ac:spMk id="10" creationId="{CBF5C588-0B57-6875-CF54-0A40C9BA071D}"/>
          </ac:spMkLst>
        </pc:spChg>
        <pc:spChg chg="add mod">
          <ac:chgData name="Frédéric POULIGNY" userId="6950b4c7-f9dc-4bc4-8fd5-997e947770fb" providerId="ADAL" clId="{D891FDA5-388A-44E5-8AB8-99B3681EF256}" dt="2024-05-06T13:50:06.858" v="354" actId="1076"/>
          <ac:spMkLst>
            <pc:docMk/>
            <pc:sldMk cId="1200663638" sldId="300"/>
            <ac:spMk id="11" creationId="{EB305AD5-2B1F-F0B1-DE2C-BB4997694390}"/>
          </ac:spMkLst>
        </pc:spChg>
        <pc:spChg chg="add mod">
          <ac:chgData name="Frédéric POULIGNY" userId="6950b4c7-f9dc-4bc4-8fd5-997e947770fb" providerId="ADAL" clId="{D891FDA5-388A-44E5-8AB8-99B3681EF256}" dt="2024-05-06T13:50:06.858" v="354" actId="1076"/>
          <ac:spMkLst>
            <pc:docMk/>
            <pc:sldMk cId="1200663638" sldId="300"/>
            <ac:spMk id="13" creationId="{F6864A75-812F-72D0-E09A-208FC5A54050}"/>
          </ac:spMkLst>
        </pc:spChg>
        <pc:spChg chg="add mod">
          <ac:chgData name="Frédéric POULIGNY" userId="6950b4c7-f9dc-4bc4-8fd5-997e947770fb" providerId="ADAL" clId="{D891FDA5-388A-44E5-8AB8-99B3681EF256}" dt="2024-05-06T13:50:06.858" v="354" actId="1076"/>
          <ac:spMkLst>
            <pc:docMk/>
            <pc:sldMk cId="1200663638" sldId="300"/>
            <ac:spMk id="14" creationId="{4C549B20-1DD0-8D2F-5BFC-5119EE78F961}"/>
          </ac:spMkLst>
        </pc:spChg>
        <pc:spChg chg="add mod">
          <ac:chgData name="Frédéric POULIGNY" userId="6950b4c7-f9dc-4bc4-8fd5-997e947770fb" providerId="ADAL" clId="{D891FDA5-388A-44E5-8AB8-99B3681EF256}" dt="2024-05-06T13:50:06.858" v="354" actId="1076"/>
          <ac:spMkLst>
            <pc:docMk/>
            <pc:sldMk cId="1200663638" sldId="300"/>
            <ac:spMk id="16" creationId="{65F23DBA-2076-F80E-4ED5-1FE11AC33BF5}"/>
          </ac:spMkLst>
        </pc:spChg>
        <pc:spChg chg="add mod">
          <ac:chgData name="Frédéric POULIGNY" userId="6950b4c7-f9dc-4bc4-8fd5-997e947770fb" providerId="ADAL" clId="{D891FDA5-388A-44E5-8AB8-99B3681EF256}" dt="2024-05-06T13:50:06.858" v="354" actId="1076"/>
          <ac:spMkLst>
            <pc:docMk/>
            <pc:sldMk cId="1200663638" sldId="300"/>
            <ac:spMk id="21" creationId="{FC5A0947-7ABB-8F1B-803C-719EA3F7F54F}"/>
          </ac:spMkLst>
        </pc:spChg>
        <pc:spChg chg="add del mod">
          <ac:chgData name="Frédéric POULIGNY" userId="6950b4c7-f9dc-4bc4-8fd5-997e947770fb" providerId="ADAL" clId="{D891FDA5-388A-44E5-8AB8-99B3681EF256}" dt="2024-05-06T13:50:10.547" v="355" actId="478"/>
          <ac:spMkLst>
            <pc:docMk/>
            <pc:sldMk cId="1200663638" sldId="300"/>
            <ac:spMk id="23" creationId="{0EC0B7DB-A374-D933-B4C3-741030F1A00E}"/>
          </ac:spMkLst>
        </pc:spChg>
        <pc:spChg chg="add mod">
          <ac:chgData name="Frédéric POULIGNY" userId="6950b4c7-f9dc-4bc4-8fd5-997e947770fb" providerId="ADAL" clId="{D891FDA5-388A-44E5-8AB8-99B3681EF256}" dt="2024-05-06T13:50:06.858" v="354" actId="1076"/>
          <ac:spMkLst>
            <pc:docMk/>
            <pc:sldMk cId="1200663638" sldId="300"/>
            <ac:spMk id="26" creationId="{C0393662-B9D6-BE4B-7269-1D7336B40F96}"/>
          </ac:spMkLst>
        </pc:spChg>
        <pc:picChg chg="add mod">
          <ac:chgData name="Frédéric POULIGNY" userId="6950b4c7-f9dc-4bc4-8fd5-997e947770fb" providerId="ADAL" clId="{D891FDA5-388A-44E5-8AB8-99B3681EF256}" dt="2024-05-06T13:50:06.858" v="354" actId="1076"/>
          <ac:picMkLst>
            <pc:docMk/>
            <pc:sldMk cId="1200663638" sldId="300"/>
            <ac:picMk id="4" creationId="{582A763D-EC97-D3B0-BBFE-5D4C002E4801}"/>
          </ac:picMkLst>
        </pc:picChg>
        <pc:picChg chg="add mod">
          <ac:chgData name="Frédéric POULIGNY" userId="6950b4c7-f9dc-4bc4-8fd5-997e947770fb" providerId="ADAL" clId="{D891FDA5-388A-44E5-8AB8-99B3681EF256}" dt="2024-05-06T13:50:06.858" v="354" actId="1076"/>
          <ac:picMkLst>
            <pc:docMk/>
            <pc:sldMk cId="1200663638" sldId="300"/>
            <ac:picMk id="5" creationId="{5827DC24-3C74-784B-BC92-B98D5E3F2554}"/>
          </ac:picMkLst>
        </pc:picChg>
        <pc:picChg chg="add mod">
          <ac:chgData name="Frédéric POULIGNY" userId="6950b4c7-f9dc-4bc4-8fd5-997e947770fb" providerId="ADAL" clId="{D891FDA5-388A-44E5-8AB8-99B3681EF256}" dt="2024-05-06T13:50:06.858" v="354" actId="1076"/>
          <ac:picMkLst>
            <pc:docMk/>
            <pc:sldMk cId="1200663638" sldId="300"/>
            <ac:picMk id="12" creationId="{B4463C1D-E0DF-A552-1AA7-D5454D480B66}"/>
          </ac:picMkLst>
        </pc:picChg>
        <pc:picChg chg="add mod">
          <ac:chgData name="Frédéric POULIGNY" userId="6950b4c7-f9dc-4bc4-8fd5-997e947770fb" providerId="ADAL" clId="{D891FDA5-388A-44E5-8AB8-99B3681EF256}" dt="2024-05-06T13:50:06.858" v="354" actId="1076"/>
          <ac:picMkLst>
            <pc:docMk/>
            <pc:sldMk cId="1200663638" sldId="300"/>
            <ac:picMk id="15" creationId="{47EB96DD-68D1-91C5-DD26-3D4F5538C24D}"/>
          </ac:picMkLst>
        </pc:picChg>
        <pc:picChg chg="add mod">
          <ac:chgData name="Frédéric POULIGNY" userId="6950b4c7-f9dc-4bc4-8fd5-997e947770fb" providerId="ADAL" clId="{D891FDA5-388A-44E5-8AB8-99B3681EF256}" dt="2024-05-06T13:50:06.858" v="354" actId="1076"/>
          <ac:picMkLst>
            <pc:docMk/>
            <pc:sldMk cId="1200663638" sldId="300"/>
            <ac:picMk id="17" creationId="{4B16136D-0437-6317-8A31-8090A02BE18B}"/>
          </ac:picMkLst>
        </pc:picChg>
        <pc:picChg chg="add mod">
          <ac:chgData name="Frédéric POULIGNY" userId="6950b4c7-f9dc-4bc4-8fd5-997e947770fb" providerId="ADAL" clId="{D891FDA5-388A-44E5-8AB8-99B3681EF256}" dt="2024-05-06T13:50:06.858" v="354" actId="1076"/>
          <ac:picMkLst>
            <pc:docMk/>
            <pc:sldMk cId="1200663638" sldId="300"/>
            <ac:picMk id="18" creationId="{04CA8985-3F01-8E10-E726-27FF38852F8C}"/>
          </ac:picMkLst>
        </pc:picChg>
        <pc:picChg chg="add mod">
          <ac:chgData name="Frédéric POULIGNY" userId="6950b4c7-f9dc-4bc4-8fd5-997e947770fb" providerId="ADAL" clId="{D891FDA5-388A-44E5-8AB8-99B3681EF256}" dt="2024-05-06T13:50:06.858" v="354" actId="1076"/>
          <ac:picMkLst>
            <pc:docMk/>
            <pc:sldMk cId="1200663638" sldId="300"/>
            <ac:picMk id="19" creationId="{FF815702-CCB8-6F47-517C-90973E032CBF}"/>
          </ac:picMkLst>
        </pc:picChg>
        <pc:picChg chg="add mod">
          <ac:chgData name="Frédéric POULIGNY" userId="6950b4c7-f9dc-4bc4-8fd5-997e947770fb" providerId="ADAL" clId="{D891FDA5-388A-44E5-8AB8-99B3681EF256}" dt="2024-05-06T13:50:06.858" v="354" actId="1076"/>
          <ac:picMkLst>
            <pc:docMk/>
            <pc:sldMk cId="1200663638" sldId="300"/>
            <ac:picMk id="20" creationId="{4F3D3322-F8E3-C0A1-22DE-02BFDEB8A3F5}"/>
          </ac:picMkLst>
        </pc:picChg>
        <pc:picChg chg="add mod">
          <ac:chgData name="Frédéric POULIGNY" userId="6950b4c7-f9dc-4bc4-8fd5-997e947770fb" providerId="ADAL" clId="{D891FDA5-388A-44E5-8AB8-99B3681EF256}" dt="2024-05-06T13:50:06.858" v="354" actId="1076"/>
          <ac:picMkLst>
            <pc:docMk/>
            <pc:sldMk cId="1200663638" sldId="300"/>
            <ac:picMk id="22" creationId="{62704BCC-BA85-A21C-180C-005682ACFD96}"/>
          </ac:picMkLst>
        </pc:picChg>
        <pc:picChg chg="add mod">
          <ac:chgData name="Frédéric POULIGNY" userId="6950b4c7-f9dc-4bc4-8fd5-997e947770fb" providerId="ADAL" clId="{D891FDA5-388A-44E5-8AB8-99B3681EF256}" dt="2024-05-06T13:50:06.858" v="354" actId="1076"/>
          <ac:picMkLst>
            <pc:docMk/>
            <pc:sldMk cId="1200663638" sldId="300"/>
            <ac:picMk id="24" creationId="{1F99B094-C54C-817A-7894-ECD835C2F9A6}"/>
          </ac:picMkLst>
        </pc:picChg>
        <pc:picChg chg="add mod">
          <ac:chgData name="Frédéric POULIGNY" userId="6950b4c7-f9dc-4bc4-8fd5-997e947770fb" providerId="ADAL" clId="{D891FDA5-388A-44E5-8AB8-99B3681EF256}" dt="2024-05-06T13:50:06.858" v="354" actId="1076"/>
          <ac:picMkLst>
            <pc:docMk/>
            <pc:sldMk cId="1200663638" sldId="300"/>
            <ac:picMk id="25" creationId="{0CD712FC-C6A0-68B5-F7CB-5FC86572B294}"/>
          </ac:picMkLst>
        </pc:picChg>
      </pc:sldChg>
      <pc:sldChg chg="modSp mod">
        <pc:chgData name="Frédéric POULIGNY" userId="6950b4c7-f9dc-4bc4-8fd5-997e947770fb" providerId="ADAL" clId="{D891FDA5-388A-44E5-8AB8-99B3681EF256}" dt="2024-05-06T14:26:51.520" v="530" actId="6549"/>
        <pc:sldMkLst>
          <pc:docMk/>
          <pc:sldMk cId="2404462579" sldId="303"/>
        </pc:sldMkLst>
        <pc:spChg chg="mod">
          <ac:chgData name="Frédéric POULIGNY" userId="6950b4c7-f9dc-4bc4-8fd5-997e947770fb" providerId="ADAL" clId="{D891FDA5-388A-44E5-8AB8-99B3681EF256}" dt="2024-05-06T14:26:51.520" v="530" actId="6549"/>
          <ac:spMkLst>
            <pc:docMk/>
            <pc:sldMk cId="2404462579" sldId="303"/>
            <ac:spMk id="5" creationId="{727EDC0B-5A19-4AA1-9F3D-FD6C1836F324}"/>
          </ac:spMkLst>
        </pc:spChg>
      </pc:sldChg>
      <pc:sldChg chg="addSp modSp del modAnim">
        <pc:chgData name="Frédéric POULIGNY" userId="6950b4c7-f9dc-4bc4-8fd5-997e947770fb" providerId="ADAL" clId="{D891FDA5-388A-44E5-8AB8-99B3681EF256}" dt="2024-05-06T14:22:43.159" v="399" actId="47"/>
        <pc:sldMkLst>
          <pc:docMk/>
          <pc:sldMk cId="2336541665" sldId="304"/>
        </pc:sldMkLst>
        <pc:spChg chg="add mod">
          <ac:chgData name="Frédéric POULIGNY" userId="6950b4c7-f9dc-4bc4-8fd5-997e947770fb" providerId="ADAL" clId="{D891FDA5-388A-44E5-8AB8-99B3681EF256}" dt="2024-05-06T13:50:32.229" v="356"/>
          <ac:spMkLst>
            <pc:docMk/>
            <pc:sldMk cId="2336541665" sldId="304"/>
            <ac:spMk id="7" creationId="{58FCF305-7D8F-D3A4-1F36-9CF4D49E7F10}"/>
          </ac:spMkLst>
        </pc:spChg>
        <pc:spChg chg="add mod">
          <ac:chgData name="Frédéric POULIGNY" userId="6950b4c7-f9dc-4bc4-8fd5-997e947770fb" providerId="ADAL" clId="{D891FDA5-388A-44E5-8AB8-99B3681EF256}" dt="2024-05-06T13:50:32.229" v="356"/>
          <ac:spMkLst>
            <pc:docMk/>
            <pc:sldMk cId="2336541665" sldId="304"/>
            <ac:spMk id="10" creationId="{D25221E1-9F5F-0D6B-B745-FE521592BB04}"/>
          </ac:spMkLst>
        </pc:spChg>
        <pc:spChg chg="add mod">
          <ac:chgData name="Frédéric POULIGNY" userId="6950b4c7-f9dc-4bc4-8fd5-997e947770fb" providerId="ADAL" clId="{D891FDA5-388A-44E5-8AB8-99B3681EF256}" dt="2024-05-06T13:50:32.229" v="356"/>
          <ac:spMkLst>
            <pc:docMk/>
            <pc:sldMk cId="2336541665" sldId="304"/>
            <ac:spMk id="11" creationId="{FE1121A6-E2E8-373A-140E-512166EF37AE}"/>
          </ac:spMkLst>
        </pc:spChg>
        <pc:spChg chg="add mod">
          <ac:chgData name="Frédéric POULIGNY" userId="6950b4c7-f9dc-4bc4-8fd5-997e947770fb" providerId="ADAL" clId="{D891FDA5-388A-44E5-8AB8-99B3681EF256}" dt="2024-05-06T13:50:32.229" v="356"/>
          <ac:spMkLst>
            <pc:docMk/>
            <pc:sldMk cId="2336541665" sldId="304"/>
            <ac:spMk id="12" creationId="{47CE09AA-7E57-625E-285E-175F28E36A4A}"/>
          </ac:spMkLst>
        </pc:spChg>
        <pc:spChg chg="add mod">
          <ac:chgData name="Frédéric POULIGNY" userId="6950b4c7-f9dc-4bc4-8fd5-997e947770fb" providerId="ADAL" clId="{D891FDA5-388A-44E5-8AB8-99B3681EF256}" dt="2024-05-06T13:50:32.229" v="356"/>
          <ac:spMkLst>
            <pc:docMk/>
            <pc:sldMk cId="2336541665" sldId="304"/>
            <ac:spMk id="13" creationId="{80F0BE65-27F9-E1BE-06B7-455F1FF0C266}"/>
          </ac:spMkLst>
        </pc:spChg>
        <pc:spChg chg="add mod">
          <ac:chgData name="Frédéric POULIGNY" userId="6950b4c7-f9dc-4bc4-8fd5-997e947770fb" providerId="ADAL" clId="{D891FDA5-388A-44E5-8AB8-99B3681EF256}" dt="2024-05-06T13:50:32.229" v="356"/>
          <ac:spMkLst>
            <pc:docMk/>
            <pc:sldMk cId="2336541665" sldId="304"/>
            <ac:spMk id="14" creationId="{DB371C7F-1418-D806-2C74-B106F70CD37A}"/>
          </ac:spMkLst>
        </pc:spChg>
        <pc:spChg chg="add mod">
          <ac:chgData name="Frédéric POULIGNY" userId="6950b4c7-f9dc-4bc4-8fd5-997e947770fb" providerId="ADAL" clId="{D891FDA5-388A-44E5-8AB8-99B3681EF256}" dt="2024-05-06T13:50:32.229" v="356"/>
          <ac:spMkLst>
            <pc:docMk/>
            <pc:sldMk cId="2336541665" sldId="304"/>
            <ac:spMk id="15" creationId="{55BE15F5-C3D1-1FE1-203D-3E0597C4CCD0}"/>
          </ac:spMkLst>
        </pc:spChg>
        <pc:spChg chg="add mod">
          <ac:chgData name="Frédéric POULIGNY" userId="6950b4c7-f9dc-4bc4-8fd5-997e947770fb" providerId="ADAL" clId="{D891FDA5-388A-44E5-8AB8-99B3681EF256}" dt="2024-05-06T13:50:32.229" v="356"/>
          <ac:spMkLst>
            <pc:docMk/>
            <pc:sldMk cId="2336541665" sldId="304"/>
            <ac:spMk id="17" creationId="{D21D2488-9E26-D07C-5DC7-9CAE753855D3}"/>
          </ac:spMkLst>
        </pc:spChg>
        <pc:spChg chg="add mod">
          <ac:chgData name="Frédéric POULIGNY" userId="6950b4c7-f9dc-4bc4-8fd5-997e947770fb" providerId="ADAL" clId="{D891FDA5-388A-44E5-8AB8-99B3681EF256}" dt="2024-05-06T13:50:32.229" v="356"/>
          <ac:spMkLst>
            <pc:docMk/>
            <pc:sldMk cId="2336541665" sldId="304"/>
            <ac:spMk id="18" creationId="{DB46C7C1-183E-B103-C46E-9F5ED78E144B}"/>
          </ac:spMkLst>
        </pc:spChg>
        <pc:spChg chg="add mod">
          <ac:chgData name="Frédéric POULIGNY" userId="6950b4c7-f9dc-4bc4-8fd5-997e947770fb" providerId="ADAL" clId="{D891FDA5-388A-44E5-8AB8-99B3681EF256}" dt="2024-05-06T13:50:32.229" v="356"/>
          <ac:spMkLst>
            <pc:docMk/>
            <pc:sldMk cId="2336541665" sldId="304"/>
            <ac:spMk id="20" creationId="{6E40127A-DC22-5A47-D552-7421BB3DE651}"/>
          </ac:spMkLst>
        </pc:spChg>
        <pc:spChg chg="add mod">
          <ac:chgData name="Frédéric POULIGNY" userId="6950b4c7-f9dc-4bc4-8fd5-997e947770fb" providerId="ADAL" clId="{D891FDA5-388A-44E5-8AB8-99B3681EF256}" dt="2024-05-06T13:50:32.229" v="356"/>
          <ac:spMkLst>
            <pc:docMk/>
            <pc:sldMk cId="2336541665" sldId="304"/>
            <ac:spMk id="25" creationId="{A78113A8-6332-8A5C-C0B4-463BB418021A}"/>
          </ac:spMkLst>
        </pc:spChg>
        <pc:spChg chg="add mod">
          <ac:chgData name="Frédéric POULIGNY" userId="6950b4c7-f9dc-4bc4-8fd5-997e947770fb" providerId="ADAL" clId="{D891FDA5-388A-44E5-8AB8-99B3681EF256}" dt="2024-05-06T13:50:34.732" v="357"/>
          <ac:spMkLst>
            <pc:docMk/>
            <pc:sldMk cId="2336541665" sldId="304"/>
            <ac:spMk id="27" creationId="{E2D9F69C-0450-14A1-334A-A6C1F01CE9B5}"/>
          </ac:spMkLst>
        </pc:spChg>
        <pc:spChg chg="add mod">
          <ac:chgData name="Frédéric POULIGNY" userId="6950b4c7-f9dc-4bc4-8fd5-997e947770fb" providerId="ADAL" clId="{D891FDA5-388A-44E5-8AB8-99B3681EF256}" dt="2024-05-06T13:50:32.229" v="356"/>
          <ac:spMkLst>
            <pc:docMk/>
            <pc:sldMk cId="2336541665" sldId="304"/>
            <ac:spMk id="30" creationId="{B0BF1690-5FB0-8D2A-D75D-D38C6F3C88D8}"/>
          </ac:spMkLst>
        </pc:spChg>
        <pc:spChg chg="add mod">
          <ac:chgData name="Frédéric POULIGNY" userId="6950b4c7-f9dc-4bc4-8fd5-997e947770fb" providerId="ADAL" clId="{D891FDA5-388A-44E5-8AB8-99B3681EF256}" dt="2024-05-06T13:50:36.600" v="358"/>
          <ac:spMkLst>
            <pc:docMk/>
            <pc:sldMk cId="2336541665" sldId="304"/>
            <ac:spMk id="31" creationId="{4EFAF68C-ECE1-A30C-B4C0-0C9061C7E758}"/>
          </ac:spMkLst>
        </pc:spChg>
        <pc:spChg chg="add mod">
          <ac:chgData name="Frédéric POULIGNY" userId="6950b4c7-f9dc-4bc4-8fd5-997e947770fb" providerId="ADAL" clId="{D891FDA5-388A-44E5-8AB8-99B3681EF256}" dt="2024-05-06T13:50:36.600" v="358"/>
          <ac:spMkLst>
            <pc:docMk/>
            <pc:sldMk cId="2336541665" sldId="304"/>
            <ac:spMk id="34" creationId="{97453413-BC18-5722-364D-2A120743B195}"/>
          </ac:spMkLst>
        </pc:spChg>
        <pc:spChg chg="add mod">
          <ac:chgData name="Frédéric POULIGNY" userId="6950b4c7-f9dc-4bc4-8fd5-997e947770fb" providerId="ADAL" clId="{D891FDA5-388A-44E5-8AB8-99B3681EF256}" dt="2024-05-06T13:50:36.600" v="358"/>
          <ac:spMkLst>
            <pc:docMk/>
            <pc:sldMk cId="2336541665" sldId="304"/>
            <ac:spMk id="35" creationId="{15201FDC-6A4F-0C8D-60C0-404C89480DC8}"/>
          </ac:spMkLst>
        </pc:spChg>
        <pc:spChg chg="add mod">
          <ac:chgData name="Frédéric POULIGNY" userId="6950b4c7-f9dc-4bc4-8fd5-997e947770fb" providerId="ADAL" clId="{D891FDA5-388A-44E5-8AB8-99B3681EF256}" dt="2024-05-06T13:50:36.600" v="358"/>
          <ac:spMkLst>
            <pc:docMk/>
            <pc:sldMk cId="2336541665" sldId="304"/>
            <ac:spMk id="36" creationId="{82A075DE-C635-E74B-1BDB-3D9246A529A4}"/>
          </ac:spMkLst>
        </pc:spChg>
        <pc:spChg chg="add mod">
          <ac:chgData name="Frédéric POULIGNY" userId="6950b4c7-f9dc-4bc4-8fd5-997e947770fb" providerId="ADAL" clId="{D891FDA5-388A-44E5-8AB8-99B3681EF256}" dt="2024-05-06T13:50:36.600" v="358"/>
          <ac:spMkLst>
            <pc:docMk/>
            <pc:sldMk cId="2336541665" sldId="304"/>
            <ac:spMk id="37" creationId="{96F51270-3AC6-4CA8-47D5-271A0CEA6B1A}"/>
          </ac:spMkLst>
        </pc:spChg>
        <pc:spChg chg="add mod">
          <ac:chgData name="Frédéric POULIGNY" userId="6950b4c7-f9dc-4bc4-8fd5-997e947770fb" providerId="ADAL" clId="{D891FDA5-388A-44E5-8AB8-99B3681EF256}" dt="2024-05-06T13:50:36.600" v="358"/>
          <ac:spMkLst>
            <pc:docMk/>
            <pc:sldMk cId="2336541665" sldId="304"/>
            <ac:spMk id="38" creationId="{3622D195-2A22-85C2-6BBE-499D552E5780}"/>
          </ac:spMkLst>
        </pc:spChg>
        <pc:spChg chg="add mod">
          <ac:chgData name="Frédéric POULIGNY" userId="6950b4c7-f9dc-4bc4-8fd5-997e947770fb" providerId="ADAL" clId="{D891FDA5-388A-44E5-8AB8-99B3681EF256}" dt="2024-05-06T13:50:36.600" v="358"/>
          <ac:spMkLst>
            <pc:docMk/>
            <pc:sldMk cId="2336541665" sldId="304"/>
            <ac:spMk id="39" creationId="{6D1A047A-22DE-E33D-DAF3-7F2FBA7E2386}"/>
          </ac:spMkLst>
        </pc:spChg>
        <pc:spChg chg="add mod">
          <ac:chgData name="Frédéric POULIGNY" userId="6950b4c7-f9dc-4bc4-8fd5-997e947770fb" providerId="ADAL" clId="{D891FDA5-388A-44E5-8AB8-99B3681EF256}" dt="2024-05-06T13:50:36.600" v="358"/>
          <ac:spMkLst>
            <pc:docMk/>
            <pc:sldMk cId="2336541665" sldId="304"/>
            <ac:spMk id="41" creationId="{989E7BB7-46AA-62EA-926A-C1F4BF68DD64}"/>
          </ac:spMkLst>
        </pc:spChg>
        <pc:spChg chg="add mod">
          <ac:chgData name="Frédéric POULIGNY" userId="6950b4c7-f9dc-4bc4-8fd5-997e947770fb" providerId="ADAL" clId="{D891FDA5-388A-44E5-8AB8-99B3681EF256}" dt="2024-05-06T13:50:36.600" v="358"/>
          <ac:spMkLst>
            <pc:docMk/>
            <pc:sldMk cId="2336541665" sldId="304"/>
            <ac:spMk id="42" creationId="{BC379B45-D902-836C-6B0C-79443E633677}"/>
          </ac:spMkLst>
        </pc:spChg>
        <pc:spChg chg="add mod">
          <ac:chgData name="Frédéric POULIGNY" userId="6950b4c7-f9dc-4bc4-8fd5-997e947770fb" providerId="ADAL" clId="{D891FDA5-388A-44E5-8AB8-99B3681EF256}" dt="2024-05-06T13:50:36.600" v="358"/>
          <ac:spMkLst>
            <pc:docMk/>
            <pc:sldMk cId="2336541665" sldId="304"/>
            <ac:spMk id="44" creationId="{834D8C77-C882-0F7D-D323-8AC2550FB992}"/>
          </ac:spMkLst>
        </pc:spChg>
        <pc:spChg chg="add mod">
          <ac:chgData name="Frédéric POULIGNY" userId="6950b4c7-f9dc-4bc4-8fd5-997e947770fb" providerId="ADAL" clId="{D891FDA5-388A-44E5-8AB8-99B3681EF256}" dt="2024-05-06T13:50:36.600" v="358"/>
          <ac:spMkLst>
            <pc:docMk/>
            <pc:sldMk cId="2336541665" sldId="304"/>
            <ac:spMk id="49" creationId="{3F7EBCEC-3C34-9437-EC6E-3B8F3E987858}"/>
          </ac:spMkLst>
        </pc:spChg>
        <pc:spChg chg="add mod">
          <ac:chgData name="Frédéric POULIGNY" userId="6950b4c7-f9dc-4bc4-8fd5-997e947770fb" providerId="ADAL" clId="{D891FDA5-388A-44E5-8AB8-99B3681EF256}" dt="2024-05-06T13:50:36.600" v="358"/>
          <ac:spMkLst>
            <pc:docMk/>
            <pc:sldMk cId="2336541665" sldId="304"/>
            <ac:spMk id="51" creationId="{7B345DC6-38FD-DB76-7D32-DEAC22FAF1FF}"/>
          </ac:spMkLst>
        </pc:spChg>
        <pc:spChg chg="add mod">
          <ac:chgData name="Frédéric POULIGNY" userId="6950b4c7-f9dc-4bc4-8fd5-997e947770fb" providerId="ADAL" clId="{D891FDA5-388A-44E5-8AB8-99B3681EF256}" dt="2024-05-06T13:50:36.600" v="358"/>
          <ac:spMkLst>
            <pc:docMk/>
            <pc:sldMk cId="2336541665" sldId="304"/>
            <ac:spMk id="54" creationId="{4C702EC3-A785-404A-5BD6-1D831C0724DA}"/>
          </ac:spMkLst>
        </pc:spChg>
        <pc:picChg chg="add mod">
          <ac:chgData name="Frédéric POULIGNY" userId="6950b4c7-f9dc-4bc4-8fd5-997e947770fb" providerId="ADAL" clId="{D891FDA5-388A-44E5-8AB8-99B3681EF256}" dt="2024-05-06T13:50:32.229" v="356"/>
          <ac:picMkLst>
            <pc:docMk/>
            <pc:sldMk cId="2336541665" sldId="304"/>
            <ac:picMk id="8" creationId="{7906F83B-FC34-D096-FE1E-5243B9CA2C1E}"/>
          </ac:picMkLst>
        </pc:picChg>
        <pc:picChg chg="add mod">
          <ac:chgData name="Frédéric POULIGNY" userId="6950b4c7-f9dc-4bc4-8fd5-997e947770fb" providerId="ADAL" clId="{D891FDA5-388A-44E5-8AB8-99B3681EF256}" dt="2024-05-06T13:50:32.229" v="356"/>
          <ac:picMkLst>
            <pc:docMk/>
            <pc:sldMk cId="2336541665" sldId="304"/>
            <ac:picMk id="9" creationId="{25C4F861-E306-0F38-DEDD-28B98A5C221B}"/>
          </ac:picMkLst>
        </pc:picChg>
        <pc:picChg chg="add mod">
          <ac:chgData name="Frédéric POULIGNY" userId="6950b4c7-f9dc-4bc4-8fd5-997e947770fb" providerId="ADAL" clId="{D891FDA5-388A-44E5-8AB8-99B3681EF256}" dt="2024-05-06T13:50:32.229" v="356"/>
          <ac:picMkLst>
            <pc:docMk/>
            <pc:sldMk cId="2336541665" sldId="304"/>
            <ac:picMk id="16" creationId="{21E4814B-D228-4B07-90F0-2FA523F9FA6D}"/>
          </ac:picMkLst>
        </pc:picChg>
        <pc:picChg chg="add mod">
          <ac:chgData name="Frédéric POULIGNY" userId="6950b4c7-f9dc-4bc4-8fd5-997e947770fb" providerId="ADAL" clId="{D891FDA5-388A-44E5-8AB8-99B3681EF256}" dt="2024-05-06T13:50:32.229" v="356"/>
          <ac:picMkLst>
            <pc:docMk/>
            <pc:sldMk cId="2336541665" sldId="304"/>
            <ac:picMk id="19" creationId="{7F9CDC7D-B684-02D4-1D23-E66B7BB5E923}"/>
          </ac:picMkLst>
        </pc:picChg>
        <pc:picChg chg="add mod">
          <ac:chgData name="Frédéric POULIGNY" userId="6950b4c7-f9dc-4bc4-8fd5-997e947770fb" providerId="ADAL" clId="{D891FDA5-388A-44E5-8AB8-99B3681EF256}" dt="2024-05-06T13:50:32.229" v="356"/>
          <ac:picMkLst>
            <pc:docMk/>
            <pc:sldMk cId="2336541665" sldId="304"/>
            <ac:picMk id="21" creationId="{06B269AF-E7D2-5AD6-5D74-98A5B582C2BB}"/>
          </ac:picMkLst>
        </pc:picChg>
        <pc:picChg chg="add mod">
          <ac:chgData name="Frédéric POULIGNY" userId="6950b4c7-f9dc-4bc4-8fd5-997e947770fb" providerId="ADAL" clId="{D891FDA5-388A-44E5-8AB8-99B3681EF256}" dt="2024-05-06T13:50:32.229" v="356"/>
          <ac:picMkLst>
            <pc:docMk/>
            <pc:sldMk cId="2336541665" sldId="304"/>
            <ac:picMk id="22" creationId="{2685CF80-FF83-A0A1-C1D4-A5CE81449C9F}"/>
          </ac:picMkLst>
        </pc:picChg>
        <pc:picChg chg="add mod">
          <ac:chgData name="Frédéric POULIGNY" userId="6950b4c7-f9dc-4bc4-8fd5-997e947770fb" providerId="ADAL" clId="{D891FDA5-388A-44E5-8AB8-99B3681EF256}" dt="2024-05-06T13:50:32.229" v="356"/>
          <ac:picMkLst>
            <pc:docMk/>
            <pc:sldMk cId="2336541665" sldId="304"/>
            <ac:picMk id="23" creationId="{B0F2DD6A-3CBB-08A3-2DC7-1D97723DA084}"/>
          </ac:picMkLst>
        </pc:picChg>
        <pc:picChg chg="add mod">
          <ac:chgData name="Frédéric POULIGNY" userId="6950b4c7-f9dc-4bc4-8fd5-997e947770fb" providerId="ADAL" clId="{D891FDA5-388A-44E5-8AB8-99B3681EF256}" dt="2024-05-06T13:50:32.229" v="356"/>
          <ac:picMkLst>
            <pc:docMk/>
            <pc:sldMk cId="2336541665" sldId="304"/>
            <ac:picMk id="24" creationId="{4CAE150C-EA13-0FA4-C3D3-43135D641414}"/>
          </ac:picMkLst>
        </pc:picChg>
        <pc:picChg chg="add mod">
          <ac:chgData name="Frédéric POULIGNY" userId="6950b4c7-f9dc-4bc4-8fd5-997e947770fb" providerId="ADAL" clId="{D891FDA5-388A-44E5-8AB8-99B3681EF256}" dt="2024-05-06T13:50:32.229" v="356"/>
          <ac:picMkLst>
            <pc:docMk/>
            <pc:sldMk cId="2336541665" sldId="304"/>
            <ac:picMk id="26" creationId="{92718643-4810-DD17-8AAA-4298035A5B74}"/>
          </ac:picMkLst>
        </pc:picChg>
        <pc:picChg chg="add mod">
          <ac:chgData name="Frédéric POULIGNY" userId="6950b4c7-f9dc-4bc4-8fd5-997e947770fb" providerId="ADAL" clId="{D891FDA5-388A-44E5-8AB8-99B3681EF256}" dt="2024-05-06T13:50:32.229" v="356"/>
          <ac:picMkLst>
            <pc:docMk/>
            <pc:sldMk cId="2336541665" sldId="304"/>
            <ac:picMk id="28" creationId="{67D0EF4E-4D2A-3B06-63A8-195B3AE70D81}"/>
          </ac:picMkLst>
        </pc:picChg>
        <pc:picChg chg="add mod">
          <ac:chgData name="Frédéric POULIGNY" userId="6950b4c7-f9dc-4bc4-8fd5-997e947770fb" providerId="ADAL" clId="{D891FDA5-388A-44E5-8AB8-99B3681EF256}" dt="2024-05-06T13:50:32.229" v="356"/>
          <ac:picMkLst>
            <pc:docMk/>
            <pc:sldMk cId="2336541665" sldId="304"/>
            <ac:picMk id="29" creationId="{CA681D35-0BD7-7692-7148-79903D8874B3}"/>
          </ac:picMkLst>
        </pc:picChg>
        <pc:picChg chg="add mod">
          <ac:chgData name="Frédéric POULIGNY" userId="6950b4c7-f9dc-4bc4-8fd5-997e947770fb" providerId="ADAL" clId="{D891FDA5-388A-44E5-8AB8-99B3681EF256}" dt="2024-05-06T13:50:36.600" v="358"/>
          <ac:picMkLst>
            <pc:docMk/>
            <pc:sldMk cId="2336541665" sldId="304"/>
            <ac:picMk id="32" creationId="{42FD930B-15FE-1BEB-8F61-67DB1445E3D8}"/>
          </ac:picMkLst>
        </pc:picChg>
        <pc:picChg chg="add mod">
          <ac:chgData name="Frédéric POULIGNY" userId="6950b4c7-f9dc-4bc4-8fd5-997e947770fb" providerId="ADAL" clId="{D891FDA5-388A-44E5-8AB8-99B3681EF256}" dt="2024-05-06T13:50:36.600" v="358"/>
          <ac:picMkLst>
            <pc:docMk/>
            <pc:sldMk cId="2336541665" sldId="304"/>
            <ac:picMk id="33" creationId="{F175D4FC-9206-52B4-A217-1D6FDE17297E}"/>
          </ac:picMkLst>
        </pc:picChg>
        <pc:picChg chg="add mod">
          <ac:chgData name="Frédéric POULIGNY" userId="6950b4c7-f9dc-4bc4-8fd5-997e947770fb" providerId="ADAL" clId="{D891FDA5-388A-44E5-8AB8-99B3681EF256}" dt="2024-05-06T13:50:36.600" v="358"/>
          <ac:picMkLst>
            <pc:docMk/>
            <pc:sldMk cId="2336541665" sldId="304"/>
            <ac:picMk id="40" creationId="{1EE4702F-1E99-F331-BAAC-5267349152B2}"/>
          </ac:picMkLst>
        </pc:picChg>
        <pc:picChg chg="add mod">
          <ac:chgData name="Frédéric POULIGNY" userId="6950b4c7-f9dc-4bc4-8fd5-997e947770fb" providerId="ADAL" clId="{D891FDA5-388A-44E5-8AB8-99B3681EF256}" dt="2024-05-06T13:50:36.600" v="358"/>
          <ac:picMkLst>
            <pc:docMk/>
            <pc:sldMk cId="2336541665" sldId="304"/>
            <ac:picMk id="43" creationId="{88A7B38A-9A47-73D0-5C3E-96CED01588A4}"/>
          </ac:picMkLst>
        </pc:picChg>
        <pc:picChg chg="add mod">
          <ac:chgData name="Frédéric POULIGNY" userId="6950b4c7-f9dc-4bc4-8fd5-997e947770fb" providerId="ADAL" clId="{D891FDA5-388A-44E5-8AB8-99B3681EF256}" dt="2024-05-06T13:50:36.600" v="358"/>
          <ac:picMkLst>
            <pc:docMk/>
            <pc:sldMk cId="2336541665" sldId="304"/>
            <ac:picMk id="45" creationId="{E9645F68-01DA-0231-205C-06A2B7B3A2B3}"/>
          </ac:picMkLst>
        </pc:picChg>
        <pc:picChg chg="add mod">
          <ac:chgData name="Frédéric POULIGNY" userId="6950b4c7-f9dc-4bc4-8fd5-997e947770fb" providerId="ADAL" clId="{D891FDA5-388A-44E5-8AB8-99B3681EF256}" dt="2024-05-06T13:50:36.600" v="358"/>
          <ac:picMkLst>
            <pc:docMk/>
            <pc:sldMk cId="2336541665" sldId="304"/>
            <ac:picMk id="46" creationId="{9B6F6347-CF48-7AFB-62FE-227B2EF85653}"/>
          </ac:picMkLst>
        </pc:picChg>
        <pc:picChg chg="add mod">
          <ac:chgData name="Frédéric POULIGNY" userId="6950b4c7-f9dc-4bc4-8fd5-997e947770fb" providerId="ADAL" clId="{D891FDA5-388A-44E5-8AB8-99B3681EF256}" dt="2024-05-06T13:50:36.600" v="358"/>
          <ac:picMkLst>
            <pc:docMk/>
            <pc:sldMk cId="2336541665" sldId="304"/>
            <ac:picMk id="47" creationId="{717BD5D3-3B56-AAD8-F22E-6D56889B45D2}"/>
          </ac:picMkLst>
        </pc:picChg>
        <pc:picChg chg="add mod">
          <ac:chgData name="Frédéric POULIGNY" userId="6950b4c7-f9dc-4bc4-8fd5-997e947770fb" providerId="ADAL" clId="{D891FDA5-388A-44E5-8AB8-99B3681EF256}" dt="2024-05-06T13:50:36.600" v="358"/>
          <ac:picMkLst>
            <pc:docMk/>
            <pc:sldMk cId="2336541665" sldId="304"/>
            <ac:picMk id="48" creationId="{93AFF885-AE1D-C476-F733-6DBBCD4524F0}"/>
          </ac:picMkLst>
        </pc:picChg>
        <pc:picChg chg="add mod">
          <ac:chgData name="Frédéric POULIGNY" userId="6950b4c7-f9dc-4bc4-8fd5-997e947770fb" providerId="ADAL" clId="{D891FDA5-388A-44E5-8AB8-99B3681EF256}" dt="2024-05-06T13:50:36.600" v="358"/>
          <ac:picMkLst>
            <pc:docMk/>
            <pc:sldMk cId="2336541665" sldId="304"/>
            <ac:picMk id="50" creationId="{FF9C1365-0DB8-7E6D-3986-6A9DDE34CB8B}"/>
          </ac:picMkLst>
        </pc:picChg>
        <pc:picChg chg="add mod">
          <ac:chgData name="Frédéric POULIGNY" userId="6950b4c7-f9dc-4bc4-8fd5-997e947770fb" providerId="ADAL" clId="{D891FDA5-388A-44E5-8AB8-99B3681EF256}" dt="2024-05-06T13:50:36.600" v="358"/>
          <ac:picMkLst>
            <pc:docMk/>
            <pc:sldMk cId="2336541665" sldId="304"/>
            <ac:picMk id="52" creationId="{7DB307DE-F623-9486-376A-F47126505CB2}"/>
          </ac:picMkLst>
        </pc:picChg>
        <pc:picChg chg="add mod">
          <ac:chgData name="Frédéric POULIGNY" userId="6950b4c7-f9dc-4bc4-8fd5-997e947770fb" providerId="ADAL" clId="{D891FDA5-388A-44E5-8AB8-99B3681EF256}" dt="2024-05-06T13:50:36.600" v="358"/>
          <ac:picMkLst>
            <pc:docMk/>
            <pc:sldMk cId="2336541665" sldId="304"/>
            <ac:picMk id="53" creationId="{1D0D3FE2-8075-7BB6-8497-A26ADD1A2DCE}"/>
          </ac:picMkLst>
        </pc:picChg>
      </pc:sldChg>
      <pc:sldChg chg="modSp add mod">
        <pc:chgData name="Frédéric POULIGNY" userId="6950b4c7-f9dc-4bc4-8fd5-997e947770fb" providerId="ADAL" clId="{D891FDA5-388A-44E5-8AB8-99B3681EF256}" dt="2024-05-06T14:24:59.781" v="437" actId="2711"/>
        <pc:sldMkLst>
          <pc:docMk/>
          <pc:sldMk cId="906065494" sldId="2147470147"/>
        </pc:sldMkLst>
        <pc:spChg chg="mod">
          <ac:chgData name="Frédéric POULIGNY" userId="6950b4c7-f9dc-4bc4-8fd5-997e947770fb" providerId="ADAL" clId="{D891FDA5-388A-44E5-8AB8-99B3681EF256}" dt="2024-05-06T14:24:59.781" v="437" actId="2711"/>
          <ac:spMkLst>
            <pc:docMk/>
            <pc:sldMk cId="906065494" sldId="2147470147"/>
            <ac:spMk id="9" creationId="{E8AEC213-E63E-C781-5A2B-16CB79278CDF}"/>
          </ac:spMkLst>
        </pc:spChg>
      </pc:sldChg>
      <pc:sldChg chg="addSp delSp modSp add mod modClrScheme delAnim modAnim chgLayout">
        <pc:chgData name="Frédéric POULIGNY" userId="6950b4c7-f9dc-4bc4-8fd5-997e947770fb" providerId="ADAL" clId="{D891FDA5-388A-44E5-8AB8-99B3681EF256}" dt="2024-05-07T08:24:28.014" v="947"/>
        <pc:sldMkLst>
          <pc:docMk/>
          <pc:sldMk cId="2170684755" sldId="2147470249"/>
        </pc:sldMkLst>
        <pc:spChg chg="add mod">
          <ac:chgData name="Frédéric POULIGNY" userId="6950b4c7-f9dc-4bc4-8fd5-997e947770fb" providerId="ADAL" clId="{D891FDA5-388A-44E5-8AB8-99B3681EF256}" dt="2024-05-07T08:24:28.014" v="947"/>
          <ac:spMkLst>
            <pc:docMk/>
            <pc:sldMk cId="2170684755" sldId="2147470249"/>
            <ac:spMk id="2" creationId="{FA1E2AB2-83ED-0096-5FE7-0C99AD6407EA}"/>
          </ac:spMkLst>
        </pc:spChg>
        <pc:spChg chg="mod">
          <ac:chgData name="Frédéric POULIGNY" userId="6950b4c7-f9dc-4bc4-8fd5-997e947770fb" providerId="ADAL" clId="{D891FDA5-388A-44E5-8AB8-99B3681EF256}" dt="2024-05-06T14:20:39.356" v="385" actId="1076"/>
          <ac:spMkLst>
            <pc:docMk/>
            <pc:sldMk cId="2170684755" sldId="2147470249"/>
            <ac:spMk id="4" creationId="{FF16E89F-6404-AAAF-E2DB-D9E6EA40EB88}"/>
          </ac:spMkLst>
        </pc:spChg>
        <pc:spChg chg="mod">
          <ac:chgData name="Frédéric POULIGNY" userId="6950b4c7-f9dc-4bc4-8fd5-997e947770fb" providerId="ADAL" clId="{D891FDA5-388A-44E5-8AB8-99B3681EF256}" dt="2024-05-06T14:20:39.356" v="385" actId="1076"/>
          <ac:spMkLst>
            <pc:docMk/>
            <pc:sldMk cId="2170684755" sldId="2147470249"/>
            <ac:spMk id="7" creationId="{7E6C1719-2E21-6BD3-9111-19CDE1F03CA7}"/>
          </ac:spMkLst>
        </pc:spChg>
        <pc:spChg chg="mod">
          <ac:chgData name="Frédéric POULIGNY" userId="6950b4c7-f9dc-4bc4-8fd5-997e947770fb" providerId="ADAL" clId="{D891FDA5-388A-44E5-8AB8-99B3681EF256}" dt="2024-05-06T14:20:39.356" v="385" actId="1076"/>
          <ac:spMkLst>
            <pc:docMk/>
            <pc:sldMk cId="2170684755" sldId="2147470249"/>
            <ac:spMk id="8" creationId="{81ADB43A-6464-1361-6160-394A77390EF4}"/>
          </ac:spMkLst>
        </pc:spChg>
        <pc:spChg chg="mod">
          <ac:chgData name="Frédéric POULIGNY" userId="6950b4c7-f9dc-4bc4-8fd5-997e947770fb" providerId="ADAL" clId="{D891FDA5-388A-44E5-8AB8-99B3681EF256}" dt="2024-05-06T14:20:39.356" v="385" actId="1076"/>
          <ac:spMkLst>
            <pc:docMk/>
            <pc:sldMk cId="2170684755" sldId="2147470249"/>
            <ac:spMk id="10" creationId="{EE1AB087-A22C-73A4-A4B7-FBE3C7E9858D}"/>
          </ac:spMkLst>
        </pc:spChg>
        <pc:spChg chg="del mod ord">
          <ac:chgData name="Frédéric POULIGNY" userId="6950b4c7-f9dc-4bc4-8fd5-997e947770fb" providerId="ADAL" clId="{D891FDA5-388A-44E5-8AB8-99B3681EF256}" dt="2024-05-07T08:24:26.922" v="946" actId="478"/>
          <ac:spMkLst>
            <pc:docMk/>
            <pc:sldMk cId="2170684755" sldId="2147470249"/>
            <ac:spMk id="13" creationId="{D2E711FA-7ED0-7B95-493C-3A7F5EF91BBD}"/>
          </ac:spMkLst>
        </pc:spChg>
        <pc:spChg chg="mod ord">
          <ac:chgData name="Frédéric POULIGNY" userId="6950b4c7-f9dc-4bc4-8fd5-997e947770fb" providerId="ADAL" clId="{D891FDA5-388A-44E5-8AB8-99B3681EF256}" dt="2024-05-06T14:20:39.356" v="385" actId="1076"/>
          <ac:spMkLst>
            <pc:docMk/>
            <pc:sldMk cId="2170684755" sldId="2147470249"/>
            <ac:spMk id="14" creationId="{349A3651-8FEB-DCD2-1137-01B7D2B64AE6}"/>
          </ac:spMkLst>
        </pc:spChg>
        <pc:spChg chg="mod">
          <ac:chgData name="Frédéric POULIGNY" userId="6950b4c7-f9dc-4bc4-8fd5-997e947770fb" providerId="ADAL" clId="{D891FDA5-388A-44E5-8AB8-99B3681EF256}" dt="2024-05-06T14:25:46.094" v="524" actId="20577"/>
          <ac:spMkLst>
            <pc:docMk/>
            <pc:sldMk cId="2170684755" sldId="2147470249"/>
            <ac:spMk id="16" creationId="{8DE33316-FE8C-DC86-4BBF-2CE4354B2FD9}"/>
          </ac:spMkLst>
        </pc:spChg>
        <pc:spChg chg="mod">
          <ac:chgData name="Frédéric POULIGNY" userId="6950b4c7-f9dc-4bc4-8fd5-997e947770fb" providerId="ADAL" clId="{D891FDA5-388A-44E5-8AB8-99B3681EF256}" dt="2024-05-06T14:20:39.356" v="385" actId="1076"/>
          <ac:spMkLst>
            <pc:docMk/>
            <pc:sldMk cId="2170684755" sldId="2147470249"/>
            <ac:spMk id="22" creationId="{5A02FEF1-5EAA-61A4-9C06-E9A0925025CA}"/>
          </ac:spMkLst>
        </pc:spChg>
        <pc:spChg chg="mod">
          <ac:chgData name="Frédéric POULIGNY" userId="6950b4c7-f9dc-4bc4-8fd5-997e947770fb" providerId="ADAL" clId="{D891FDA5-388A-44E5-8AB8-99B3681EF256}" dt="2024-05-06T14:20:39.356" v="385" actId="1076"/>
          <ac:spMkLst>
            <pc:docMk/>
            <pc:sldMk cId="2170684755" sldId="2147470249"/>
            <ac:spMk id="27" creationId="{517453E1-1C47-80E6-7008-8C567E22F3F4}"/>
          </ac:spMkLst>
        </pc:spChg>
        <pc:spChg chg="mod">
          <ac:chgData name="Frédéric POULIGNY" userId="6950b4c7-f9dc-4bc4-8fd5-997e947770fb" providerId="ADAL" clId="{D891FDA5-388A-44E5-8AB8-99B3681EF256}" dt="2024-05-06T14:20:39.356" v="385" actId="1076"/>
          <ac:spMkLst>
            <pc:docMk/>
            <pc:sldMk cId="2170684755" sldId="2147470249"/>
            <ac:spMk id="28" creationId="{AD638928-010E-8A45-5140-50B61ABEE4EF}"/>
          </ac:spMkLst>
        </pc:spChg>
        <pc:spChg chg="mod">
          <ac:chgData name="Frédéric POULIGNY" userId="6950b4c7-f9dc-4bc4-8fd5-997e947770fb" providerId="ADAL" clId="{D891FDA5-388A-44E5-8AB8-99B3681EF256}" dt="2024-05-06T14:20:39.356" v="385" actId="1076"/>
          <ac:spMkLst>
            <pc:docMk/>
            <pc:sldMk cId="2170684755" sldId="2147470249"/>
            <ac:spMk id="29" creationId="{1092E90D-48C6-7B85-B8CC-5DCCF4C4D99C}"/>
          </ac:spMkLst>
        </pc:spChg>
        <pc:picChg chg="del mod">
          <ac:chgData name="Frédéric POULIGNY" userId="6950b4c7-f9dc-4bc4-8fd5-997e947770fb" providerId="ADAL" clId="{D891FDA5-388A-44E5-8AB8-99B3681EF256}" dt="2024-05-06T14:28:49.365" v="531" actId="478"/>
          <ac:picMkLst>
            <pc:docMk/>
            <pc:sldMk cId="2170684755" sldId="2147470249"/>
            <ac:picMk id="3" creationId="{DDC1715D-2452-38D4-46F1-69A2604CC29E}"/>
          </ac:picMkLst>
        </pc:picChg>
        <pc:picChg chg="add mod ord modCrop">
          <ac:chgData name="Frédéric POULIGNY" userId="6950b4c7-f9dc-4bc4-8fd5-997e947770fb" providerId="ADAL" clId="{D891FDA5-388A-44E5-8AB8-99B3681EF256}" dt="2024-05-06T14:34:56.100" v="553" actId="1076"/>
          <ac:picMkLst>
            <pc:docMk/>
            <pc:sldMk cId="2170684755" sldId="2147470249"/>
            <ac:picMk id="5" creationId="{B8D17D81-DE2E-589C-6648-A76CB4416D36}"/>
          </ac:picMkLst>
        </pc:picChg>
        <pc:picChg chg="mod">
          <ac:chgData name="Frédéric POULIGNY" userId="6950b4c7-f9dc-4bc4-8fd5-997e947770fb" providerId="ADAL" clId="{D891FDA5-388A-44E5-8AB8-99B3681EF256}" dt="2024-05-06T14:20:39.356" v="385" actId="1076"/>
          <ac:picMkLst>
            <pc:docMk/>
            <pc:sldMk cId="2170684755" sldId="2147470249"/>
            <ac:picMk id="6" creationId="{83C40303-7AFE-DB9B-2C71-0B90C1C15F6C}"/>
          </ac:picMkLst>
        </pc:picChg>
        <pc:picChg chg="mod">
          <ac:chgData name="Frédéric POULIGNY" userId="6950b4c7-f9dc-4bc4-8fd5-997e947770fb" providerId="ADAL" clId="{D891FDA5-388A-44E5-8AB8-99B3681EF256}" dt="2024-05-06T14:20:39.356" v="385" actId="1076"/>
          <ac:picMkLst>
            <pc:docMk/>
            <pc:sldMk cId="2170684755" sldId="2147470249"/>
            <ac:picMk id="11" creationId="{C9DA8222-B9D6-9E5B-0D6C-FEAA9BFFE21E}"/>
          </ac:picMkLst>
        </pc:picChg>
        <pc:picChg chg="mod">
          <ac:chgData name="Frédéric POULIGNY" userId="6950b4c7-f9dc-4bc4-8fd5-997e947770fb" providerId="ADAL" clId="{D891FDA5-388A-44E5-8AB8-99B3681EF256}" dt="2024-05-06T14:34:43.613" v="551" actId="1076"/>
          <ac:picMkLst>
            <pc:docMk/>
            <pc:sldMk cId="2170684755" sldId="2147470249"/>
            <ac:picMk id="12" creationId="{07F51E00-3DA2-BC6A-C403-9B4181C5EF02}"/>
          </ac:picMkLst>
        </pc:picChg>
        <pc:picChg chg="mod">
          <ac:chgData name="Frédéric POULIGNY" userId="6950b4c7-f9dc-4bc4-8fd5-997e947770fb" providerId="ADAL" clId="{D891FDA5-388A-44E5-8AB8-99B3681EF256}" dt="2024-05-06T14:20:39.356" v="385" actId="1076"/>
          <ac:picMkLst>
            <pc:docMk/>
            <pc:sldMk cId="2170684755" sldId="2147470249"/>
            <ac:picMk id="19" creationId="{2528BE47-6EEE-6A49-E9F7-62EBA0DA3E31}"/>
          </ac:picMkLst>
        </pc:picChg>
        <pc:picChg chg="mod">
          <ac:chgData name="Frédéric POULIGNY" userId="6950b4c7-f9dc-4bc4-8fd5-997e947770fb" providerId="ADAL" clId="{D891FDA5-388A-44E5-8AB8-99B3681EF256}" dt="2024-05-06T14:20:39.356" v="385" actId="1076"/>
          <ac:picMkLst>
            <pc:docMk/>
            <pc:sldMk cId="2170684755" sldId="2147470249"/>
            <ac:picMk id="26" creationId="{06B70F2B-C336-FEF1-F8F7-187BA714A6BA}"/>
          </ac:picMkLst>
        </pc:picChg>
      </pc:sldChg>
      <pc:sldChg chg="addSp delSp modSp add mod modClrScheme delAnim chgLayout">
        <pc:chgData name="Frédéric POULIGNY" userId="6950b4c7-f9dc-4bc4-8fd5-997e947770fb" providerId="ADAL" clId="{D891FDA5-388A-44E5-8AB8-99B3681EF256}" dt="2024-05-07T08:23:40.869" v="938" actId="20577"/>
        <pc:sldMkLst>
          <pc:docMk/>
          <pc:sldMk cId="3227256896" sldId="2147470250"/>
        </pc:sldMkLst>
        <pc:spChg chg="mod">
          <ac:chgData name="Frédéric POULIGNY" userId="6950b4c7-f9dc-4bc4-8fd5-997e947770fb" providerId="ADAL" clId="{D891FDA5-388A-44E5-8AB8-99B3681EF256}" dt="2024-05-06T13:51:35.612" v="363" actId="1076"/>
          <ac:spMkLst>
            <pc:docMk/>
            <pc:sldMk cId="3227256896" sldId="2147470250"/>
            <ac:spMk id="6" creationId="{751EE724-8086-2ED7-FBAF-9CCCFCEA1D50}"/>
          </ac:spMkLst>
        </pc:spChg>
        <pc:spChg chg="mod ord">
          <ac:chgData name="Frédéric POULIGNY" userId="6950b4c7-f9dc-4bc4-8fd5-997e947770fb" providerId="ADAL" clId="{D891FDA5-388A-44E5-8AB8-99B3681EF256}" dt="2024-05-07T08:23:40.869" v="938" actId="20577"/>
          <ac:spMkLst>
            <pc:docMk/>
            <pc:sldMk cId="3227256896" sldId="2147470250"/>
            <ac:spMk id="9" creationId="{F8089F0D-0DD0-CEA8-3451-48B6DC11F7A4}"/>
          </ac:spMkLst>
        </pc:spChg>
        <pc:spChg chg="del mod">
          <ac:chgData name="Frédéric POULIGNY" userId="6950b4c7-f9dc-4bc4-8fd5-997e947770fb" providerId="ADAL" clId="{D891FDA5-388A-44E5-8AB8-99B3681EF256}" dt="2024-05-06T13:52:41.745" v="367" actId="478"/>
          <ac:spMkLst>
            <pc:docMk/>
            <pc:sldMk cId="3227256896" sldId="2147470250"/>
            <ac:spMk id="11" creationId="{D4D1ADDE-A556-C118-D1AF-83A3E1838E53}"/>
          </ac:spMkLst>
        </pc:spChg>
        <pc:spChg chg="add del mod">
          <ac:chgData name="Frédéric POULIGNY" userId="6950b4c7-f9dc-4bc4-8fd5-997e947770fb" providerId="ADAL" clId="{D891FDA5-388A-44E5-8AB8-99B3681EF256}" dt="2024-05-07T07:52:20.797" v="603" actId="478"/>
          <ac:spMkLst>
            <pc:docMk/>
            <pc:sldMk cId="3227256896" sldId="2147470250"/>
            <ac:spMk id="12" creationId="{8128A62B-EABD-9677-0BDE-03DB2EA99500}"/>
          </ac:spMkLst>
        </pc:spChg>
        <pc:spChg chg="mod ord">
          <ac:chgData name="Frédéric POULIGNY" userId="6950b4c7-f9dc-4bc4-8fd5-997e947770fb" providerId="ADAL" clId="{D891FDA5-388A-44E5-8AB8-99B3681EF256}" dt="2024-05-06T13:51:28.353" v="362" actId="2711"/>
          <ac:spMkLst>
            <pc:docMk/>
            <pc:sldMk cId="3227256896" sldId="2147470250"/>
            <ac:spMk id="14" creationId="{349A3651-8FEB-DCD2-1137-01B7D2B64AE6}"/>
          </ac:spMkLst>
        </pc:spChg>
        <pc:spChg chg="mod">
          <ac:chgData name="Frédéric POULIGNY" userId="6950b4c7-f9dc-4bc4-8fd5-997e947770fb" providerId="ADAL" clId="{D891FDA5-388A-44E5-8AB8-99B3681EF256}" dt="2024-05-06T13:51:28.353" v="362" actId="2711"/>
          <ac:spMkLst>
            <pc:docMk/>
            <pc:sldMk cId="3227256896" sldId="2147470250"/>
            <ac:spMk id="22" creationId="{0E2C7EF0-7A9D-3A18-9C68-D6332A6AED49}"/>
          </ac:spMkLst>
        </pc:spChg>
        <pc:spChg chg="mod">
          <ac:chgData name="Frédéric POULIGNY" userId="6950b4c7-f9dc-4bc4-8fd5-997e947770fb" providerId="ADAL" clId="{D891FDA5-388A-44E5-8AB8-99B3681EF256}" dt="2024-05-06T13:51:28.353" v="362" actId="2711"/>
          <ac:spMkLst>
            <pc:docMk/>
            <pc:sldMk cId="3227256896" sldId="2147470250"/>
            <ac:spMk id="23" creationId="{9051FEAA-C21C-DB1E-FFE5-90DAA229FFF9}"/>
          </ac:spMkLst>
        </pc:spChg>
        <pc:spChg chg="mod">
          <ac:chgData name="Frédéric POULIGNY" userId="6950b4c7-f9dc-4bc4-8fd5-997e947770fb" providerId="ADAL" clId="{D891FDA5-388A-44E5-8AB8-99B3681EF256}" dt="2024-05-06T13:51:28.353" v="362" actId="2711"/>
          <ac:spMkLst>
            <pc:docMk/>
            <pc:sldMk cId="3227256896" sldId="2147470250"/>
            <ac:spMk id="26" creationId="{6DC4757E-B380-5D7E-DC6B-214FA7980FDA}"/>
          </ac:spMkLst>
        </pc:spChg>
        <pc:spChg chg="mod">
          <ac:chgData name="Frédéric POULIGNY" userId="6950b4c7-f9dc-4bc4-8fd5-997e947770fb" providerId="ADAL" clId="{D891FDA5-388A-44E5-8AB8-99B3681EF256}" dt="2024-05-06T13:51:28.353" v="362" actId="2711"/>
          <ac:spMkLst>
            <pc:docMk/>
            <pc:sldMk cId="3227256896" sldId="2147470250"/>
            <ac:spMk id="27" creationId="{D3E0F3DE-C107-EF96-9687-1454127D4BB9}"/>
          </ac:spMkLst>
        </pc:spChg>
        <pc:spChg chg="mod">
          <ac:chgData name="Frédéric POULIGNY" userId="6950b4c7-f9dc-4bc4-8fd5-997e947770fb" providerId="ADAL" clId="{D891FDA5-388A-44E5-8AB8-99B3681EF256}" dt="2024-05-06T13:51:28.353" v="362" actId="2711"/>
          <ac:spMkLst>
            <pc:docMk/>
            <pc:sldMk cId="3227256896" sldId="2147470250"/>
            <ac:spMk id="38" creationId="{0F9CA8AA-9085-409F-93DC-07AA2E73B26D}"/>
          </ac:spMkLst>
        </pc:spChg>
        <pc:spChg chg="mod">
          <ac:chgData name="Frédéric POULIGNY" userId="6950b4c7-f9dc-4bc4-8fd5-997e947770fb" providerId="ADAL" clId="{D891FDA5-388A-44E5-8AB8-99B3681EF256}" dt="2024-05-07T07:52:27.442" v="605" actId="207"/>
          <ac:spMkLst>
            <pc:docMk/>
            <pc:sldMk cId="3227256896" sldId="2147470250"/>
            <ac:spMk id="68" creationId="{2CA0F856-6511-94C4-D1B5-F38DF5AB3E50}"/>
          </ac:spMkLst>
        </pc:spChg>
        <pc:spChg chg="mod">
          <ac:chgData name="Frédéric POULIGNY" userId="6950b4c7-f9dc-4bc4-8fd5-997e947770fb" providerId="ADAL" clId="{D891FDA5-388A-44E5-8AB8-99B3681EF256}" dt="2024-05-06T13:51:28.353" v="362" actId="2711"/>
          <ac:spMkLst>
            <pc:docMk/>
            <pc:sldMk cId="3227256896" sldId="2147470250"/>
            <ac:spMk id="85" creationId="{6842C6EA-0685-A8DE-8BD0-DA60E4BC20BC}"/>
          </ac:spMkLst>
        </pc:spChg>
        <pc:spChg chg="mod">
          <ac:chgData name="Frédéric POULIGNY" userId="6950b4c7-f9dc-4bc4-8fd5-997e947770fb" providerId="ADAL" clId="{D891FDA5-388A-44E5-8AB8-99B3681EF256}" dt="2024-05-07T07:55:21.412" v="637" actId="14100"/>
          <ac:spMkLst>
            <pc:docMk/>
            <pc:sldMk cId="3227256896" sldId="2147470250"/>
            <ac:spMk id="86" creationId="{A9382084-BA03-5804-7125-4BFC38AE3FB0}"/>
          </ac:spMkLst>
        </pc:spChg>
        <pc:spChg chg="mod">
          <ac:chgData name="Frédéric POULIGNY" userId="6950b4c7-f9dc-4bc4-8fd5-997e947770fb" providerId="ADAL" clId="{D891FDA5-388A-44E5-8AB8-99B3681EF256}" dt="2024-05-07T07:50:54.273" v="554" actId="6549"/>
          <ac:spMkLst>
            <pc:docMk/>
            <pc:sldMk cId="3227256896" sldId="2147470250"/>
            <ac:spMk id="89" creationId="{8C2826FA-1715-91D2-800F-D448E6E9C451}"/>
          </ac:spMkLst>
        </pc:spChg>
        <pc:picChg chg="mod">
          <ac:chgData name="Frédéric POULIGNY" userId="6950b4c7-f9dc-4bc4-8fd5-997e947770fb" providerId="ADAL" clId="{D891FDA5-388A-44E5-8AB8-99B3681EF256}" dt="2024-05-06T13:51:28.353" v="362" actId="2711"/>
          <ac:picMkLst>
            <pc:docMk/>
            <pc:sldMk cId="3227256896" sldId="2147470250"/>
            <ac:picMk id="2" creationId="{9C0F0576-5BAD-AFBC-56B7-2699DCA73113}"/>
          </ac:picMkLst>
        </pc:picChg>
        <pc:picChg chg="mod">
          <ac:chgData name="Frédéric POULIGNY" userId="6950b4c7-f9dc-4bc4-8fd5-997e947770fb" providerId="ADAL" clId="{D891FDA5-388A-44E5-8AB8-99B3681EF256}" dt="2024-05-06T13:51:28.353" v="362" actId="2711"/>
          <ac:picMkLst>
            <pc:docMk/>
            <pc:sldMk cId="3227256896" sldId="2147470250"/>
            <ac:picMk id="3" creationId="{D37C4027-1455-795A-F079-16289826E165}"/>
          </ac:picMkLst>
        </pc:picChg>
        <pc:picChg chg="mod">
          <ac:chgData name="Frédéric POULIGNY" userId="6950b4c7-f9dc-4bc4-8fd5-997e947770fb" providerId="ADAL" clId="{D891FDA5-388A-44E5-8AB8-99B3681EF256}" dt="2024-05-06T13:51:28.353" v="362" actId="2711"/>
          <ac:picMkLst>
            <pc:docMk/>
            <pc:sldMk cId="3227256896" sldId="2147470250"/>
            <ac:picMk id="4" creationId="{974793BB-792A-3BFA-DA87-F8808A8094C9}"/>
          </ac:picMkLst>
        </pc:picChg>
        <pc:picChg chg="mod">
          <ac:chgData name="Frédéric POULIGNY" userId="6950b4c7-f9dc-4bc4-8fd5-997e947770fb" providerId="ADAL" clId="{D891FDA5-388A-44E5-8AB8-99B3681EF256}" dt="2024-05-06T13:51:28.353" v="362" actId="2711"/>
          <ac:picMkLst>
            <pc:docMk/>
            <pc:sldMk cId="3227256896" sldId="2147470250"/>
            <ac:picMk id="5" creationId="{0F3FE57B-E4A3-FCCE-A6DA-9C09560F9EA9}"/>
          </ac:picMkLst>
        </pc:picChg>
        <pc:picChg chg="mod">
          <ac:chgData name="Frédéric POULIGNY" userId="6950b4c7-f9dc-4bc4-8fd5-997e947770fb" providerId="ADAL" clId="{D891FDA5-388A-44E5-8AB8-99B3681EF256}" dt="2024-05-06T13:51:28.353" v="362" actId="2711"/>
          <ac:picMkLst>
            <pc:docMk/>
            <pc:sldMk cId="3227256896" sldId="2147470250"/>
            <ac:picMk id="7" creationId="{8DF49C03-B310-419F-B4D8-DB1B80B354A9}"/>
          </ac:picMkLst>
        </pc:picChg>
        <pc:picChg chg="mod">
          <ac:chgData name="Frédéric POULIGNY" userId="6950b4c7-f9dc-4bc4-8fd5-997e947770fb" providerId="ADAL" clId="{D891FDA5-388A-44E5-8AB8-99B3681EF256}" dt="2024-05-06T13:51:28.353" v="362" actId="2711"/>
          <ac:picMkLst>
            <pc:docMk/>
            <pc:sldMk cId="3227256896" sldId="2147470250"/>
            <ac:picMk id="8" creationId="{B7F17572-C375-023A-F167-F5D46026863E}"/>
          </ac:picMkLst>
        </pc:picChg>
        <pc:picChg chg="mod">
          <ac:chgData name="Frédéric POULIGNY" userId="6950b4c7-f9dc-4bc4-8fd5-997e947770fb" providerId="ADAL" clId="{D891FDA5-388A-44E5-8AB8-99B3681EF256}" dt="2024-05-06T13:51:28.353" v="362" actId="2711"/>
          <ac:picMkLst>
            <pc:docMk/>
            <pc:sldMk cId="3227256896" sldId="2147470250"/>
            <ac:picMk id="10" creationId="{8EBB5159-0FB2-E013-4758-AFCF14E92DF5}"/>
          </ac:picMkLst>
        </pc:picChg>
        <pc:picChg chg="mod">
          <ac:chgData name="Frédéric POULIGNY" userId="6950b4c7-f9dc-4bc4-8fd5-997e947770fb" providerId="ADAL" clId="{D891FDA5-388A-44E5-8AB8-99B3681EF256}" dt="2024-05-06T13:51:28.353" v="362" actId="2711"/>
          <ac:picMkLst>
            <pc:docMk/>
            <pc:sldMk cId="3227256896" sldId="2147470250"/>
            <ac:picMk id="21" creationId="{9EFA6E22-FB4F-6FF0-FBC8-E02E6728470C}"/>
          </ac:picMkLst>
        </pc:picChg>
        <pc:picChg chg="mod">
          <ac:chgData name="Frédéric POULIGNY" userId="6950b4c7-f9dc-4bc4-8fd5-997e947770fb" providerId="ADAL" clId="{D891FDA5-388A-44E5-8AB8-99B3681EF256}" dt="2024-05-06T13:51:28.353" v="362" actId="2711"/>
          <ac:picMkLst>
            <pc:docMk/>
            <pc:sldMk cId="3227256896" sldId="2147470250"/>
            <ac:picMk id="28" creationId="{26246EA0-5E3C-3D7A-5213-82A7859EE3EF}"/>
          </ac:picMkLst>
        </pc:picChg>
        <pc:picChg chg="mod">
          <ac:chgData name="Frédéric POULIGNY" userId="6950b4c7-f9dc-4bc4-8fd5-997e947770fb" providerId="ADAL" clId="{D891FDA5-388A-44E5-8AB8-99B3681EF256}" dt="2024-05-06T13:51:28.353" v="362" actId="2711"/>
          <ac:picMkLst>
            <pc:docMk/>
            <pc:sldMk cId="3227256896" sldId="2147470250"/>
            <ac:picMk id="37" creationId="{F9FF4108-87FF-E8E3-63FD-D48889AEF35B}"/>
          </ac:picMkLst>
        </pc:picChg>
        <pc:picChg chg="mod">
          <ac:chgData name="Frédéric POULIGNY" userId="6950b4c7-f9dc-4bc4-8fd5-997e947770fb" providerId="ADAL" clId="{D891FDA5-388A-44E5-8AB8-99B3681EF256}" dt="2024-05-06T13:51:28.353" v="362" actId="2711"/>
          <ac:picMkLst>
            <pc:docMk/>
            <pc:sldMk cId="3227256896" sldId="2147470250"/>
            <ac:picMk id="88" creationId="{8D302A3D-ABAB-E50E-C36E-0BC2AE5FE448}"/>
          </ac:picMkLst>
        </pc:picChg>
      </pc:sldChg>
      <pc:sldChg chg="addSp delSp modSp add mod">
        <pc:chgData name="Frédéric POULIGNY" userId="6950b4c7-f9dc-4bc4-8fd5-997e947770fb" providerId="ADAL" clId="{D891FDA5-388A-44E5-8AB8-99B3681EF256}" dt="2024-05-07T08:24:56.098" v="959"/>
        <pc:sldMkLst>
          <pc:docMk/>
          <pc:sldMk cId="4143485134" sldId="2147470260"/>
        </pc:sldMkLst>
        <pc:spChg chg="del">
          <ac:chgData name="Frédéric POULIGNY" userId="6950b4c7-f9dc-4bc4-8fd5-997e947770fb" providerId="ADAL" clId="{D891FDA5-388A-44E5-8AB8-99B3681EF256}" dt="2024-05-07T08:24:55.673" v="958" actId="478"/>
          <ac:spMkLst>
            <pc:docMk/>
            <pc:sldMk cId="4143485134" sldId="2147470260"/>
            <ac:spMk id="2" creationId="{F023BEA3-2B52-0CDD-681C-4B6ACE232B4B}"/>
          </ac:spMkLst>
        </pc:spChg>
        <pc:spChg chg="add mod">
          <ac:chgData name="Frédéric POULIGNY" userId="6950b4c7-f9dc-4bc4-8fd5-997e947770fb" providerId="ADAL" clId="{D891FDA5-388A-44E5-8AB8-99B3681EF256}" dt="2024-05-07T08:24:56.098" v="959"/>
          <ac:spMkLst>
            <pc:docMk/>
            <pc:sldMk cId="4143485134" sldId="2147470260"/>
            <ac:spMk id="3" creationId="{625F4661-E920-F96C-B9FC-18ACAA4A1EE5}"/>
          </ac:spMkLst>
        </pc:spChg>
        <pc:spChg chg="mod">
          <ac:chgData name="Frédéric POULIGNY" userId="6950b4c7-f9dc-4bc4-8fd5-997e947770fb" providerId="ADAL" clId="{D891FDA5-388A-44E5-8AB8-99B3681EF256}" dt="2024-05-06T14:24:53.918" v="436" actId="2711"/>
          <ac:spMkLst>
            <pc:docMk/>
            <pc:sldMk cId="4143485134" sldId="2147470260"/>
            <ac:spMk id="10" creationId="{EC06F4F5-4A4A-87F8-B6CB-A9FCB168678C}"/>
          </ac:spMkLst>
        </pc:spChg>
      </pc:sldChg>
      <pc:sldChg chg="addSp delSp modSp add mod modClrScheme chgLayout">
        <pc:chgData name="Frédéric POULIGNY" userId="6950b4c7-f9dc-4bc4-8fd5-997e947770fb" providerId="ADAL" clId="{D891FDA5-388A-44E5-8AB8-99B3681EF256}" dt="2024-05-07T08:24:50.627" v="957"/>
        <pc:sldMkLst>
          <pc:docMk/>
          <pc:sldMk cId="4247543901" sldId="2147470261"/>
        </pc:sldMkLst>
        <pc:spChg chg="del mod ord">
          <ac:chgData name="Frédéric POULIGNY" userId="6950b4c7-f9dc-4bc4-8fd5-997e947770fb" providerId="ADAL" clId="{D891FDA5-388A-44E5-8AB8-99B3681EF256}" dt="2024-05-07T08:24:49.836" v="956" actId="478"/>
          <ac:spMkLst>
            <pc:docMk/>
            <pc:sldMk cId="4247543901" sldId="2147470261"/>
            <ac:spMk id="2" creationId="{7900D754-E120-ABDF-2D79-BB05A44324D7}"/>
          </ac:spMkLst>
        </pc:spChg>
        <pc:spChg chg="add mod">
          <ac:chgData name="Frédéric POULIGNY" userId="6950b4c7-f9dc-4bc4-8fd5-997e947770fb" providerId="ADAL" clId="{D891FDA5-388A-44E5-8AB8-99B3681EF256}" dt="2024-05-07T08:24:50.627" v="957"/>
          <ac:spMkLst>
            <pc:docMk/>
            <pc:sldMk cId="4247543901" sldId="2147470261"/>
            <ac:spMk id="9" creationId="{A737C6BB-A2A4-18AD-0325-DF502806F521}"/>
          </ac:spMkLst>
        </pc:spChg>
        <pc:spChg chg="mod">
          <ac:chgData name="Frédéric POULIGNY" userId="6950b4c7-f9dc-4bc4-8fd5-997e947770fb" providerId="ADAL" clId="{D891FDA5-388A-44E5-8AB8-99B3681EF256}" dt="2024-05-06T14:24:33.353" v="412" actId="1076"/>
          <ac:spMkLst>
            <pc:docMk/>
            <pc:sldMk cId="4247543901" sldId="2147470261"/>
            <ac:spMk id="10" creationId="{EC06F4F5-4A4A-87F8-B6CB-A9FCB168678C}"/>
          </ac:spMkLst>
        </pc:spChg>
        <pc:spChg chg="mod ord">
          <ac:chgData name="Frédéric POULIGNY" userId="6950b4c7-f9dc-4bc4-8fd5-997e947770fb" providerId="ADAL" clId="{D891FDA5-388A-44E5-8AB8-99B3681EF256}" dt="2024-05-06T14:24:29.416" v="411" actId="2711"/>
          <ac:spMkLst>
            <pc:docMk/>
            <pc:sldMk cId="4247543901" sldId="2147470261"/>
            <ac:spMk id="14" creationId="{349A3651-8FEB-DCD2-1137-01B7D2B64AE6}"/>
          </ac:spMkLst>
        </pc:spChg>
        <pc:spChg chg="mod">
          <ac:chgData name="Frédéric POULIGNY" userId="6950b4c7-f9dc-4bc4-8fd5-997e947770fb" providerId="ADAL" clId="{D891FDA5-388A-44E5-8AB8-99B3681EF256}" dt="2024-05-06T14:24:29.416" v="411" actId="2711"/>
          <ac:spMkLst>
            <pc:docMk/>
            <pc:sldMk cId="4247543901" sldId="2147470261"/>
            <ac:spMk id="17" creationId="{D9403E6B-E265-4FE4-4DCB-44320D3C9220}"/>
          </ac:spMkLst>
        </pc:spChg>
        <pc:spChg chg="mod">
          <ac:chgData name="Frédéric POULIGNY" userId="6950b4c7-f9dc-4bc4-8fd5-997e947770fb" providerId="ADAL" clId="{D891FDA5-388A-44E5-8AB8-99B3681EF256}" dt="2024-05-06T14:24:29.416" v="411" actId="2711"/>
          <ac:spMkLst>
            <pc:docMk/>
            <pc:sldMk cId="4247543901" sldId="2147470261"/>
            <ac:spMk id="25" creationId="{969C364E-64B7-0982-0742-76A5EA47FCC2}"/>
          </ac:spMkLst>
        </pc:spChg>
        <pc:spChg chg="mod">
          <ac:chgData name="Frédéric POULIGNY" userId="6950b4c7-f9dc-4bc4-8fd5-997e947770fb" providerId="ADAL" clId="{D891FDA5-388A-44E5-8AB8-99B3681EF256}" dt="2024-05-06T14:24:29.416" v="411" actId="2711"/>
          <ac:spMkLst>
            <pc:docMk/>
            <pc:sldMk cId="4247543901" sldId="2147470261"/>
            <ac:spMk id="26" creationId="{C6936715-1035-07C0-0FA5-882BEF536880}"/>
          </ac:spMkLst>
        </pc:spChg>
        <pc:spChg chg="mod">
          <ac:chgData name="Frédéric POULIGNY" userId="6950b4c7-f9dc-4bc4-8fd5-997e947770fb" providerId="ADAL" clId="{D891FDA5-388A-44E5-8AB8-99B3681EF256}" dt="2024-05-07T08:03:27.515" v="868" actId="179"/>
          <ac:spMkLst>
            <pc:docMk/>
            <pc:sldMk cId="4247543901" sldId="2147470261"/>
            <ac:spMk id="27" creationId="{4B6A1646-12A2-4E0C-5B81-5CAD3DDBF397}"/>
          </ac:spMkLst>
        </pc:spChg>
        <pc:spChg chg="mod">
          <ac:chgData name="Frédéric POULIGNY" userId="6950b4c7-f9dc-4bc4-8fd5-997e947770fb" providerId="ADAL" clId="{D891FDA5-388A-44E5-8AB8-99B3681EF256}" dt="2024-05-07T08:03:20.099" v="865" actId="14100"/>
          <ac:spMkLst>
            <pc:docMk/>
            <pc:sldMk cId="4247543901" sldId="2147470261"/>
            <ac:spMk id="28" creationId="{791832C4-8718-AF75-8E3D-E8C4E72005EA}"/>
          </ac:spMkLst>
        </pc:spChg>
        <pc:spChg chg="mod">
          <ac:chgData name="Frédéric POULIGNY" userId="6950b4c7-f9dc-4bc4-8fd5-997e947770fb" providerId="ADAL" clId="{D891FDA5-388A-44E5-8AB8-99B3681EF256}" dt="2024-05-06T14:24:29.416" v="411" actId="2711"/>
          <ac:spMkLst>
            <pc:docMk/>
            <pc:sldMk cId="4247543901" sldId="2147470261"/>
            <ac:spMk id="29" creationId="{8CAF5553-23B3-4D4E-332C-3CE0CBB03EBA}"/>
          </ac:spMkLst>
        </pc:spChg>
        <pc:spChg chg="mod">
          <ac:chgData name="Frédéric POULIGNY" userId="6950b4c7-f9dc-4bc4-8fd5-997e947770fb" providerId="ADAL" clId="{D891FDA5-388A-44E5-8AB8-99B3681EF256}" dt="2024-05-06T14:24:29.416" v="411" actId="2711"/>
          <ac:spMkLst>
            <pc:docMk/>
            <pc:sldMk cId="4247543901" sldId="2147470261"/>
            <ac:spMk id="30" creationId="{96B2BFDB-AFD3-0D10-FFA1-0B54948ABAA2}"/>
          </ac:spMkLst>
        </pc:spChg>
        <pc:spChg chg="mod">
          <ac:chgData name="Frédéric POULIGNY" userId="6950b4c7-f9dc-4bc4-8fd5-997e947770fb" providerId="ADAL" clId="{D891FDA5-388A-44E5-8AB8-99B3681EF256}" dt="2024-05-07T08:03:00.395" v="861" actId="1038"/>
          <ac:spMkLst>
            <pc:docMk/>
            <pc:sldMk cId="4247543901" sldId="2147470261"/>
            <ac:spMk id="31" creationId="{E49138E9-9F94-F7F3-37F5-743B2B08F7D0}"/>
          </ac:spMkLst>
        </pc:spChg>
        <pc:spChg chg="mod">
          <ac:chgData name="Frédéric POULIGNY" userId="6950b4c7-f9dc-4bc4-8fd5-997e947770fb" providerId="ADAL" clId="{D891FDA5-388A-44E5-8AB8-99B3681EF256}" dt="2024-05-06T14:24:29.416" v="411" actId="2711"/>
          <ac:spMkLst>
            <pc:docMk/>
            <pc:sldMk cId="4247543901" sldId="2147470261"/>
            <ac:spMk id="32" creationId="{2048BAB9-DE4F-F2EF-8FF9-EC870A0A0BC6}"/>
          </ac:spMkLst>
        </pc:spChg>
        <pc:picChg chg="add del mod">
          <ac:chgData name="Frédéric POULIGNY" userId="6950b4c7-f9dc-4bc4-8fd5-997e947770fb" providerId="ADAL" clId="{D891FDA5-388A-44E5-8AB8-99B3681EF256}" dt="2024-05-07T08:03:22.476" v="866" actId="478"/>
          <ac:picMkLst>
            <pc:docMk/>
            <pc:sldMk cId="4247543901" sldId="2147470261"/>
            <ac:picMk id="3" creationId="{2EB54A29-912A-B5FE-A0DE-78CC05806025}"/>
          </ac:picMkLst>
        </pc:picChg>
        <pc:picChg chg="mod">
          <ac:chgData name="Frédéric POULIGNY" userId="6950b4c7-f9dc-4bc4-8fd5-997e947770fb" providerId="ADAL" clId="{D891FDA5-388A-44E5-8AB8-99B3681EF256}" dt="2024-05-07T08:03:00.395" v="861" actId="1038"/>
          <ac:picMkLst>
            <pc:docMk/>
            <pc:sldMk cId="4247543901" sldId="2147470261"/>
            <ac:picMk id="5" creationId="{72F3582B-01DB-99C8-9390-5AD6004739AF}"/>
          </ac:picMkLst>
        </pc:picChg>
        <pc:picChg chg="del">
          <ac:chgData name="Frédéric POULIGNY" userId="6950b4c7-f9dc-4bc4-8fd5-997e947770fb" providerId="ADAL" clId="{D891FDA5-388A-44E5-8AB8-99B3681EF256}" dt="2024-05-07T08:02:36.392" v="832" actId="478"/>
          <ac:picMkLst>
            <pc:docMk/>
            <pc:sldMk cId="4247543901" sldId="2147470261"/>
            <ac:picMk id="7" creationId="{E2B71722-2FD2-A140-67D2-DB915DDEE4B8}"/>
          </ac:picMkLst>
        </pc:picChg>
        <pc:picChg chg="add mod">
          <ac:chgData name="Frédéric POULIGNY" userId="6950b4c7-f9dc-4bc4-8fd5-997e947770fb" providerId="ADAL" clId="{D891FDA5-388A-44E5-8AB8-99B3681EF256}" dt="2024-05-07T08:03:15.944" v="864" actId="571"/>
          <ac:picMkLst>
            <pc:docMk/>
            <pc:sldMk cId="4247543901" sldId="2147470261"/>
            <ac:picMk id="8" creationId="{D8F3EA44-8680-6DCC-9B61-6C72A01DE4B0}"/>
          </ac:picMkLst>
        </pc:picChg>
      </pc:sldChg>
      <pc:sldChg chg="addSp delSp modSp add mod modClrScheme chgLayout">
        <pc:chgData name="Frédéric POULIGNY" userId="6950b4c7-f9dc-4bc4-8fd5-997e947770fb" providerId="ADAL" clId="{D891FDA5-388A-44E5-8AB8-99B3681EF256}" dt="2024-05-07T08:24:32.220" v="949"/>
        <pc:sldMkLst>
          <pc:docMk/>
          <pc:sldMk cId="2201155221" sldId="2147470262"/>
        </pc:sldMkLst>
        <pc:spChg chg="add del mod ord">
          <ac:chgData name="Frédéric POULIGNY" userId="6950b4c7-f9dc-4bc4-8fd5-997e947770fb" providerId="ADAL" clId="{D891FDA5-388A-44E5-8AB8-99B3681EF256}" dt="2024-05-06T14:21:04.450" v="388" actId="700"/>
          <ac:spMkLst>
            <pc:docMk/>
            <pc:sldMk cId="2201155221" sldId="2147470262"/>
            <ac:spMk id="2" creationId="{0F1BDEB3-7C15-E17B-8278-3522D2243DD5}"/>
          </ac:spMkLst>
        </pc:spChg>
        <pc:spChg chg="add mod">
          <ac:chgData name="Frédéric POULIGNY" userId="6950b4c7-f9dc-4bc4-8fd5-997e947770fb" providerId="ADAL" clId="{D891FDA5-388A-44E5-8AB8-99B3681EF256}" dt="2024-05-07T08:24:32.220" v="949"/>
          <ac:spMkLst>
            <pc:docMk/>
            <pc:sldMk cId="2201155221" sldId="2147470262"/>
            <ac:spMk id="2" creationId="{24396AF5-799A-1E0B-B564-A29F60A50888}"/>
          </ac:spMkLst>
        </pc:spChg>
        <pc:spChg chg="del mod ord">
          <ac:chgData name="Frédéric POULIGNY" userId="6950b4c7-f9dc-4bc4-8fd5-997e947770fb" providerId="ADAL" clId="{D891FDA5-388A-44E5-8AB8-99B3681EF256}" dt="2024-05-07T08:24:31.724" v="948" actId="478"/>
          <ac:spMkLst>
            <pc:docMk/>
            <pc:sldMk cId="2201155221" sldId="2147470262"/>
            <ac:spMk id="4" creationId="{730A3485-1D7C-BD97-BBD8-17CEF32253F0}"/>
          </ac:spMkLst>
        </pc:spChg>
        <pc:spChg chg="mod">
          <ac:chgData name="Frédéric POULIGNY" userId="6950b4c7-f9dc-4bc4-8fd5-997e947770fb" providerId="ADAL" clId="{D891FDA5-388A-44E5-8AB8-99B3681EF256}" dt="2024-05-06T14:21:16.615" v="390" actId="2711"/>
          <ac:spMkLst>
            <pc:docMk/>
            <pc:sldMk cId="2201155221" sldId="2147470262"/>
            <ac:spMk id="6" creationId="{44BB0229-C158-ECD0-3658-BC2A94C66EF7}"/>
          </ac:spMkLst>
        </pc:spChg>
        <pc:spChg chg="add del mod ord">
          <ac:chgData name="Frédéric POULIGNY" userId="6950b4c7-f9dc-4bc4-8fd5-997e947770fb" providerId="ADAL" clId="{D891FDA5-388A-44E5-8AB8-99B3681EF256}" dt="2024-05-06T14:21:04.450" v="388" actId="700"/>
          <ac:spMkLst>
            <pc:docMk/>
            <pc:sldMk cId="2201155221" sldId="2147470262"/>
            <ac:spMk id="7" creationId="{8A002418-5372-2979-66B5-E0C9B54400F3}"/>
          </ac:spMkLst>
        </pc:spChg>
        <pc:spChg chg="mod">
          <ac:chgData name="Frédéric POULIGNY" userId="6950b4c7-f9dc-4bc4-8fd5-997e947770fb" providerId="ADAL" clId="{D891FDA5-388A-44E5-8AB8-99B3681EF256}" dt="2024-05-06T14:21:22.577" v="391" actId="1076"/>
          <ac:spMkLst>
            <pc:docMk/>
            <pc:sldMk cId="2201155221" sldId="2147470262"/>
            <ac:spMk id="10" creationId="{EC06F4F5-4A4A-87F8-B6CB-A9FCB168678C}"/>
          </ac:spMkLst>
        </pc:spChg>
        <pc:spChg chg="mod">
          <ac:chgData name="Frédéric POULIGNY" userId="6950b4c7-f9dc-4bc4-8fd5-997e947770fb" providerId="ADAL" clId="{D891FDA5-388A-44E5-8AB8-99B3681EF256}" dt="2024-05-06T14:21:16.615" v="390" actId="2711"/>
          <ac:spMkLst>
            <pc:docMk/>
            <pc:sldMk cId="2201155221" sldId="2147470262"/>
            <ac:spMk id="12" creationId="{55780A62-DA1C-61B7-6D28-F64AFB3AF19E}"/>
          </ac:spMkLst>
        </pc:spChg>
        <pc:spChg chg="mod ord">
          <ac:chgData name="Frédéric POULIGNY" userId="6950b4c7-f9dc-4bc4-8fd5-997e947770fb" providerId="ADAL" clId="{D891FDA5-388A-44E5-8AB8-99B3681EF256}" dt="2024-05-06T14:21:16.615" v="390" actId="2711"/>
          <ac:spMkLst>
            <pc:docMk/>
            <pc:sldMk cId="2201155221" sldId="2147470262"/>
            <ac:spMk id="14" creationId="{349A3651-8FEB-DCD2-1137-01B7D2B64AE6}"/>
          </ac:spMkLst>
        </pc:spChg>
        <pc:spChg chg="mod">
          <ac:chgData name="Frédéric POULIGNY" userId="6950b4c7-f9dc-4bc4-8fd5-997e947770fb" providerId="ADAL" clId="{D891FDA5-388A-44E5-8AB8-99B3681EF256}" dt="2024-05-06T14:21:16.615" v="390" actId="2711"/>
          <ac:spMkLst>
            <pc:docMk/>
            <pc:sldMk cId="2201155221" sldId="2147470262"/>
            <ac:spMk id="15" creationId="{74222878-CDE0-5ED0-C41D-4CF386CAE2A7}"/>
          </ac:spMkLst>
        </pc:spChg>
        <pc:spChg chg="mod">
          <ac:chgData name="Frédéric POULIGNY" userId="6950b4c7-f9dc-4bc4-8fd5-997e947770fb" providerId="ADAL" clId="{D891FDA5-388A-44E5-8AB8-99B3681EF256}" dt="2024-05-06T14:21:16.615" v="390" actId="2711"/>
          <ac:spMkLst>
            <pc:docMk/>
            <pc:sldMk cId="2201155221" sldId="2147470262"/>
            <ac:spMk id="17" creationId="{777E8358-107E-DBAB-D2EA-10B14C1668B4}"/>
          </ac:spMkLst>
        </pc:spChg>
        <pc:graphicFrameChg chg="mod">
          <ac:chgData name="Frédéric POULIGNY" userId="6950b4c7-f9dc-4bc4-8fd5-997e947770fb" providerId="ADAL" clId="{D891FDA5-388A-44E5-8AB8-99B3681EF256}" dt="2024-05-06T14:21:16.615" v="390" actId="2711"/>
          <ac:graphicFrameMkLst>
            <pc:docMk/>
            <pc:sldMk cId="2201155221" sldId="2147470262"/>
            <ac:graphicFrameMk id="3" creationId="{4318F7BD-6C91-5C2D-4B05-5264F386BD00}"/>
          </ac:graphicFrameMkLst>
        </pc:graphicFrameChg>
        <pc:picChg chg="mod">
          <ac:chgData name="Frédéric POULIGNY" userId="6950b4c7-f9dc-4bc4-8fd5-997e947770fb" providerId="ADAL" clId="{D891FDA5-388A-44E5-8AB8-99B3681EF256}" dt="2024-05-06T14:21:16.615" v="390" actId="2711"/>
          <ac:picMkLst>
            <pc:docMk/>
            <pc:sldMk cId="2201155221" sldId="2147470262"/>
            <ac:picMk id="5" creationId="{36523C9F-F35B-EC6B-416E-AD34F5641F0D}"/>
          </ac:picMkLst>
        </pc:picChg>
        <pc:picChg chg="mod">
          <ac:chgData name="Frédéric POULIGNY" userId="6950b4c7-f9dc-4bc4-8fd5-997e947770fb" providerId="ADAL" clId="{D891FDA5-388A-44E5-8AB8-99B3681EF256}" dt="2024-05-06T14:21:16.615" v="390" actId="2711"/>
          <ac:picMkLst>
            <pc:docMk/>
            <pc:sldMk cId="2201155221" sldId="2147470262"/>
            <ac:picMk id="11" creationId="{22DB5CDE-C915-C357-3DF2-63F68F50F992}"/>
          </ac:picMkLst>
        </pc:picChg>
        <pc:picChg chg="mod">
          <ac:chgData name="Frédéric POULIGNY" userId="6950b4c7-f9dc-4bc4-8fd5-997e947770fb" providerId="ADAL" clId="{D891FDA5-388A-44E5-8AB8-99B3681EF256}" dt="2024-05-06T14:21:16.615" v="390" actId="2711"/>
          <ac:picMkLst>
            <pc:docMk/>
            <pc:sldMk cId="2201155221" sldId="2147470262"/>
            <ac:picMk id="22" creationId="{664BAB0C-8BF8-4E49-7B5B-D660A64735CF}"/>
          </ac:picMkLst>
        </pc:picChg>
      </pc:sldChg>
      <pc:sldChg chg="addSp delSp modSp add mod modClrScheme delAnim chgLayout">
        <pc:chgData name="Frédéric POULIGNY" userId="6950b4c7-f9dc-4bc4-8fd5-997e947770fb" providerId="ADAL" clId="{D891FDA5-388A-44E5-8AB8-99B3681EF256}" dt="2024-05-07T08:24:46.313" v="955"/>
        <pc:sldMkLst>
          <pc:docMk/>
          <pc:sldMk cId="2550513129" sldId="2147470265"/>
        </pc:sldMkLst>
        <pc:spChg chg="mod">
          <ac:chgData name="Frédéric POULIGNY" userId="6950b4c7-f9dc-4bc4-8fd5-997e947770fb" providerId="ADAL" clId="{D891FDA5-388A-44E5-8AB8-99B3681EF256}" dt="2024-05-06T14:24:11.635" v="407" actId="2711"/>
          <ac:spMkLst>
            <pc:docMk/>
            <pc:sldMk cId="2550513129" sldId="2147470265"/>
            <ac:spMk id="2" creationId="{BA467D82-8D2C-8A32-D7A2-A93C8484A0D6}"/>
          </ac:spMkLst>
        </pc:spChg>
        <pc:spChg chg="mod">
          <ac:chgData name="Frédéric POULIGNY" userId="6950b4c7-f9dc-4bc4-8fd5-997e947770fb" providerId="ADAL" clId="{D891FDA5-388A-44E5-8AB8-99B3681EF256}" dt="2024-05-06T14:24:11.635" v="407" actId="2711"/>
          <ac:spMkLst>
            <pc:docMk/>
            <pc:sldMk cId="2550513129" sldId="2147470265"/>
            <ac:spMk id="3" creationId="{0391BA0A-82A1-6A6C-A810-A2CF5B561563}"/>
          </ac:spMkLst>
        </pc:spChg>
        <pc:spChg chg="mod">
          <ac:chgData name="Frédéric POULIGNY" userId="6950b4c7-f9dc-4bc4-8fd5-997e947770fb" providerId="ADAL" clId="{D891FDA5-388A-44E5-8AB8-99B3681EF256}" dt="2024-05-06T14:30:44.219" v="544" actId="20577"/>
          <ac:spMkLst>
            <pc:docMk/>
            <pc:sldMk cId="2550513129" sldId="2147470265"/>
            <ac:spMk id="4" creationId="{9C724FB7-30CE-8268-8520-0F38D252DE93}"/>
          </ac:spMkLst>
        </pc:spChg>
        <pc:spChg chg="mod ord">
          <ac:chgData name="Frédéric POULIGNY" userId="6950b4c7-f9dc-4bc4-8fd5-997e947770fb" providerId="ADAL" clId="{D891FDA5-388A-44E5-8AB8-99B3681EF256}" dt="2024-05-06T14:24:11.635" v="407" actId="2711"/>
          <ac:spMkLst>
            <pc:docMk/>
            <pc:sldMk cId="2550513129" sldId="2147470265"/>
            <ac:spMk id="5" creationId="{E52831F6-0C5A-A845-C7E6-F6EF9C4E341A}"/>
          </ac:spMkLst>
        </pc:spChg>
        <pc:spChg chg="mod">
          <ac:chgData name="Frédéric POULIGNY" userId="6950b4c7-f9dc-4bc4-8fd5-997e947770fb" providerId="ADAL" clId="{D891FDA5-388A-44E5-8AB8-99B3681EF256}" dt="2024-05-06T14:24:11.635" v="407" actId="2711"/>
          <ac:spMkLst>
            <pc:docMk/>
            <pc:sldMk cId="2550513129" sldId="2147470265"/>
            <ac:spMk id="7" creationId="{E123984C-643E-1879-87DA-E3C98959AE6F}"/>
          </ac:spMkLst>
        </pc:spChg>
        <pc:spChg chg="mod">
          <ac:chgData name="Frédéric POULIGNY" userId="6950b4c7-f9dc-4bc4-8fd5-997e947770fb" providerId="ADAL" clId="{D891FDA5-388A-44E5-8AB8-99B3681EF256}" dt="2024-05-07T08:09:09.372" v="914" actId="1076"/>
          <ac:spMkLst>
            <pc:docMk/>
            <pc:sldMk cId="2550513129" sldId="2147470265"/>
            <ac:spMk id="8" creationId="{47749692-354C-52DC-1A86-F5AB3703B1F4}"/>
          </ac:spMkLst>
        </pc:spChg>
        <pc:spChg chg="mod">
          <ac:chgData name="Frédéric POULIGNY" userId="6950b4c7-f9dc-4bc4-8fd5-997e947770fb" providerId="ADAL" clId="{D891FDA5-388A-44E5-8AB8-99B3681EF256}" dt="2024-05-06T14:24:11.635" v="407" actId="2711"/>
          <ac:spMkLst>
            <pc:docMk/>
            <pc:sldMk cId="2550513129" sldId="2147470265"/>
            <ac:spMk id="10" creationId="{45449088-4538-4503-B1C5-358D82BDEAD8}"/>
          </ac:spMkLst>
        </pc:spChg>
        <pc:spChg chg="mod">
          <ac:chgData name="Frédéric POULIGNY" userId="6950b4c7-f9dc-4bc4-8fd5-997e947770fb" providerId="ADAL" clId="{D891FDA5-388A-44E5-8AB8-99B3681EF256}" dt="2024-05-06T14:24:11.635" v="407" actId="2711"/>
          <ac:spMkLst>
            <pc:docMk/>
            <pc:sldMk cId="2550513129" sldId="2147470265"/>
            <ac:spMk id="12" creationId="{73333B02-8D52-AE68-29DA-7D993680E121}"/>
          </ac:spMkLst>
        </pc:spChg>
        <pc:spChg chg="del mod">
          <ac:chgData name="Frédéric POULIGNY" userId="6950b4c7-f9dc-4bc4-8fd5-997e947770fb" providerId="ADAL" clId="{D891FDA5-388A-44E5-8AB8-99B3681EF256}" dt="2024-05-06T14:30:40.109" v="540" actId="478"/>
          <ac:spMkLst>
            <pc:docMk/>
            <pc:sldMk cId="2550513129" sldId="2147470265"/>
            <ac:spMk id="13" creationId="{E8D018D5-5429-E1B7-4E4B-C11F74E38570}"/>
          </ac:spMkLst>
        </pc:spChg>
        <pc:spChg chg="mod">
          <ac:chgData name="Frédéric POULIGNY" userId="6950b4c7-f9dc-4bc4-8fd5-997e947770fb" providerId="ADAL" clId="{D891FDA5-388A-44E5-8AB8-99B3681EF256}" dt="2024-05-06T14:24:18.185" v="409" actId="1076"/>
          <ac:spMkLst>
            <pc:docMk/>
            <pc:sldMk cId="2550513129" sldId="2147470265"/>
            <ac:spMk id="14" creationId="{6C520297-EFBC-4098-FDC2-7CEC207FD7C5}"/>
          </ac:spMkLst>
        </pc:spChg>
        <pc:spChg chg="mod">
          <ac:chgData name="Frédéric POULIGNY" userId="6950b4c7-f9dc-4bc4-8fd5-997e947770fb" providerId="ADAL" clId="{D891FDA5-388A-44E5-8AB8-99B3681EF256}" dt="2024-05-07T08:09:11.699" v="915" actId="1076"/>
          <ac:spMkLst>
            <pc:docMk/>
            <pc:sldMk cId="2550513129" sldId="2147470265"/>
            <ac:spMk id="16" creationId="{18D0E7DC-AEA9-0A43-898A-21114E757E0E}"/>
          </ac:spMkLst>
        </pc:spChg>
        <pc:spChg chg="del mod ord">
          <ac:chgData name="Frédéric POULIGNY" userId="6950b4c7-f9dc-4bc4-8fd5-997e947770fb" providerId="ADAL" clId="{D891FDA5-388A-44E5-8AB8-99B3681EF256}" dt="2024-05-07T08:24:45.743" v="954" actId="478"/>
          <ac:spMkLst>
            <pc:docMk/>
            <pc:sldMk cId="2550513129" sldId="2147470265"/>
            <ac:spMk id="17" creationId="{CEDAF6DE-2D33-76CC-0E6D-568758882B89}"/>
          </ac:spMkLst>
        </pc:spChg>
        <pc:spChg chg="mod">
          <ac:chgData name="Frédéric POULIGNY" userId="6950b4c7-f9dc-4bc4-8fd5-997e947770fb" providerId="ADAL" clId="{D891FDA5-388A-44E5-8AB8-99B3681EF256}" dt="2024-05-06T14:24:11.635" v="407" actId="2711"/>
          <ac:spMkLst>
            <pc:docMk/>
            <pc:sldMk cId="2550513129" sldId="2147470265"/>
            <ac:spMk id="18" creationId="{F6BA343D-7730-4EA0-1422-B094B4351499}"/>
          </ac:spMkLst>
        </pc:spChg>
        <pc:spChg chg="add mod">
          <ac:chgData name="Frédéric POULIGNY" userId="6950b4c7-f9dc-4bc4-8fd5-997e947770fb" providerId="ADAL" clId="{D891FDA5-388A-44E5-8AB8-99B3681EF256}" dt="2024-05-07T08:24:46.313" v="955"/>
          <ac:spMkLst>
            <pc:docMk/>
            <pc:sldMk cId="2550513129" sldId="2147470265"/>
            <ac:spMk id="19" creationId="{ED3C7F77-7C2C-A70D-7978-277A44E31C77}"/>
          </ac:spMkLst>
        </pc:spChg>
        <pc:picChg chg="mod">
          <ac:chgData name="Frédéric POULIGNY" userId="6950b4c7-f9dc-4bc4-8fd5-997e947770fb" providerId="ADAL" clId="{D891FDA5-388A-44E5-8AB8-99B3681EF256}" dt="2024-05-06T14:24:11.635" v="407" actId="2711"/>
          <ac:picMkLst>
            <pc:docMk/>
            <pc:sldMk cId="2550513129" sldId="2147470265"/>
            <ac:picMk id="6" creationId="{BBD5E02F-1C77-4B86-12FE-5DD8F2D09CAC}"/>
          </ac:picMkLst>
        </pc:picChg>
        <pc:picChg chg="del mod">
          <ac:chgData name="Frédéric POULIGNY" userId="6950b4c7-f9dc-4bc4-8fd5-997e947770fb" providerId="ADAL" clId="{D891FDA5-388A-44E5-8AB8-99B3681EF256}" dt="2024-05-07T08:08:42.244" v="901" actId="478"/>
          <ac:picMkLst>
            <pc:docMk/>
            <pc:sldMk cId="2550513129" sldId="2147470265"/>
            <ac:picMk id="9" creationId="{C86298F4-B98D-6D10-C801-E516F35E5C2B}"/>
          </ac:picMkLst>
        </pc:picChg>
        <pc:picChg chg="add mod">
          <ac:chgData name="Frédéric POULIGNY" userId="6950b4c7-f9dc-4bc4-8fd5-997e947770fb" providerId="ADAL" clId="{D891FDA5-388A-44E5-8AB8-99B3681EF256}" dt="2024-05-07T08:09:16.395" v="919" actId="1076"/>
          <ac:picMkLst>
            <pc:docMk/>
            <pc:sldMk cId="2550513129" sldId="2147470265"/>
            <ac:picMk id="13" creationId="{79D75F99-5E67-BAC2-6468-2DBB83B6A3AD}"/>
          </ac:picMkLst>
        </pc:picChg>
        <pc:picChg chg="del mod">
          <ac:chgData name="Frédéric POULIGNY" userId="6950b4c7-f9dc-4bc4-8fd5-997e947770fb" providerId="ADAL" clId="{D891FDA5-388A-44E5-8AB8-99B3681EF256}" dt="2024-05-07T08:08:53.108" v="909" actId="478"/>
          <ac:picMkLst>
            <pc:docMk/>
            <pc:sldMk cId="2550513129" sldId="2147470265"/>
            <ac:picMk id="15" creationId="{39993CEF-45EF-FB37-616C-D3353ADBA638}"/>
          </ac:picMkLst>
        </pc:picChg>
      </pc:sldChg>
      <pc:sldChg chg="modSp add mod modClrScheme chgLayout">
        <pc:chgData name="Frédéric POULIGNY" userId="6950b4c7-f9dc-4bc4-8fd5-997e947770fb" providerId="ADAL" clId="{D891FDA5-388A-44E5-8AB8-99B3681EF256}" dt="2024-05-06T14:22:31.703" v="398" actId="1076"/>
        <pc:sldMkLst>
          <pc:docMk/>
          <pc:sldMk cId="1550588556" sldId="2147470266"/>
        </pc:sldMkLst>
        <pc:spChg chg="mod">
          <ac:chgData name="Frédéric POULIGNY" userId="6950b4c7-f9dc-4bc4-8fd5-997e947770fb" providerId="ADAL" clId="{D891FDA5-388A-44E5-8AB8-99B3681EF256}" dt="2024-05-06T14:21:59.044" v="394" actId="2711"/>
          <ac:spMkLst>
            <pc:docMk/>
            <pc:sldMk cId="1550588556" sldId="2147470266"/>
            <ac:spMk id="2" creationId="{D02185C2-FE5B-4F1C-E32C-548C5FBBE821}"/>
          </ac:spMkLst>
        </pc:spChg>
        <pc:spChg chg="mod ord">
          <ac:chgData name="Frédéric POULIGNY" userId="6950b4c7-f9dc-4bc4-8fd5-997e947770fb" providerId="ADAL" clId="{D891FDA5-388A-44E5-8AB8-99B3681EF256}" dt="2024-05-06T14:21:59.044" v="394" actId="2711"/>
          <ac:spMkLst>
            <pc:docMk/>
            <pc:sldMk cId="1550588556" sldId="2147470266"/>
            <ac:spMk id="5" creationId="{D892F3E3-1352-8934-84C5-852C10DF58A4}"/>
          </ac:spMkLst>
        </pc:spChg>
        <pc:spChg chg="mod">
          <ac:chgData name="Frédéric POULIGNY" userId="6950b4c7-f9dc-4bc4-8fd5-997e947770fb" providerId="ADAL" clId="{D891FDA5-388A-44E5-8AB8-99B3681EF256}" dt="2024-05-06T14:22:31.703" v="398" actId="1076"/>
          <ac:spMkLst>
            <pc:docMk/>
            <pc:sldMk cId="1550588556" sldId="2147470266"/>
            <ac:spMk id="13" creationId="{51F5F31F-2C13-8897-1BBB-87228AB55842}"/>
          </ac:spMkLst>
        </pc:spChg>
        <pc:spChg chg="mod ord">
          <ac:chgData name="Frédéric POULIGNY" userId="6950b4c7-f9dc-4bc4-8fd5-997e947770fb" providerId="ADAL" clId="{D891FDA5-388A-44E5-8AB8-99B3681EF256}" dt="2024-05-06T14:21:59.044" v="394" actId="2711"/>
          <ac:spMkLst>
            <pc:docMk/>
            <pc:sldMk cId="1550588556" sldId="2147470266"/>
            <ac:spMk id="14" creationId="{349A3651-8FEB-DCD2-1137-01B7D2B64AE6}"/>
          </ac:spMkLst>
        </pc:spChg>
        <pc:spChg chg="mod">
          <ac:chgData name="Frédéric POULIGNY" userId="6950b4c7-f9dc-4bc4-8fd5-997e947770fb" providerId="ADAL" clId="{D891FDA5-388A-44E5-8AB8-99B3681EF256}" dt="2024-05-06T14:21:59.044" v="394" actId="2711"/>
          <ac:spMkLst>
            <pc:docMk/>
            <pc:sldMk cId="1550588556" sldId="2147470266"/>
            <ac:spMk id="15" creationId="{0E0D4504-E42E-79C8-CB9E-5EC3DD030684}"/>
          </ac:spMkLst>
        </pc:spChg>
        <pc:spChg chg="mod">
          <ac:chgData name="Frédéric POULIGNY" userId="6950b4c7-f9dc-4bc4-8fd5-997e947770fb" providerId="ADAL" clId="{D891FDA5-388A-44E5-8AB8-99B3681EF256}" dt="2024-05-06T14:21:59.044" v="394" actId="2711"/>
          <ac:spMkLst>
            <pc:docMk/>
            <pc:sldMk cId="1550588556" sldId="2147470266"/>
            <ac:spMk id="16" creationId="{EF9ADC88-F84E-3AAF-4A45-9BD16B5D0477}"/>
          </ac:spMkLst>
        </pc:spChg>
        <pc:spChg chg="mod">
          <ac:chgData name="Frédéric POULIGNY" userId="6950b4c7-f9dc-4bc4-8fd5-997e947770fb" providerId="ADAL" clId="{D891FDA5-388A-44E5-8AB8-99B3681EF256}" dt="2024-05-06T14:21:59.044" v="394" actId="2711"/>
          <ac:spMkLst>
            <pc:docMk/>
            <pc:sldMk cId="1550588556" sldId="2147470266"/>
            <ac:spMk id="19" creationId="{49F8575F-C9C9-2D22-0045-A43CA47FE653}"/>
          </ac:spMkLst>
        </pc:spChg>
        <pc:spChg chg="mod">
          <ac:chgData name="Frédéric POULIGNY" userId="6950b4c7-f9dc-4bc4-8fd5-997e947770fb" providerId="ADAL" clId="{D891FDA5-388A-44E5-8AB8-99B3681EF256}" dt="2024-05-06T14:21:59.044" v="394" actId="2711"/>
          <ac:spMkLst>
            <pc:docMk/>
            <pc:sldMk cId="1550588556" sldId="2147470266"/>
            <ac:spMk id="20" creationId="{15976B27-0D6F-2573-DFC9-E331A5F3FDDA}"/>
          </ac:spMkLst>
        </pc:spChg>
      </pc:sldChg>
      <pc:sldChg chg="addSp delSp modSp add mod modClrScheme chgLayout">
        <pc:chgData name="Frédéric POULIGNY" userId="6950b4c7-f9dc-4bc4-8fd5-997e947770fb" providerId="ADAL" clId="{D891FDA5-388A-44E5-8AB8-99B3681EF256}" dt="2024-05-07T08:24:42.016" v="953"/>
        <pc:sldMkLst>
          <pc:docMk/>
          <pc:sldMk cId="2613814031" sldId="2147470267"/>
        </pc:sldMkLst>
        <pc:spChg chg="add mod">
          <ac:chgData name="Frédéric POULIGNY" userId="6950b4c7-f9dc-4bc4-8fd5-997e947770fb" providerId="ADAL" clId="{D891FDA5-388A-44E5-8AB8-99B3681EF256}" dt="2024-05-07T08:24:39.117" v="951"/>
          <ac:spMkLst>
            <pc:docMk/>
            <pc:sldMk cId="2613814031" sldId="2147470267"/>
            <ac:spMk id="2" creationId="{8BAD064C-FBEA-14DA-A941-4060128B06C4}"/>
          </ac:spMkLst>
        </pc:spChg>
        <pc:spChg chg="add mod">
          <ac:chgData name="Frédéric POULIGNY" userId="6950b4c7-f9dc-4bc4-8fd5-997e947770fb" providerId="ADAL" clId="{D891FDA5-388A-44E5-8AB8-99B3681EF256}" dt="2024-05-07T08:24:42.016" v="953"/>
          <ac:spMkLst>
            <pc:docMk/>
            <pc:sldMk cId="2613814031" sldId="2147470267"/>
            <ac:spMk id="3" creationId="{D2295D78-6156-2DA9-1DB7-7DA9678458C1}"/>
          </ac:spMkLst>
        </pc:spChg>
        <pc:spChg chg="mod">
          <ac:chgData name="Frédéric POULIGNY" userId="6950b4c7-f9dc-4bc4-8fd5-997e947770fb" providerId="ADAL" clId="{D891FDA5-388A-44E5-8AB8-99B3681EF256}" dt="2024-05-06T14:22:25.480" v="397" actId="1076"/>
          <ac:spMkLst>
            <pc:docMk/>
            <pc:sldMk cId="2613814031" sldId="2147470267"/>
            <ac:spMk id="5" creationId="{B59F9029-01B9-2841-3B5B-B772F119E59E}"/>
          </ac:spMkLst>
        </pc:spChg>
        <pc:spChg chg="mod">
          <ac:chgData name="Frédéric POULIGNY" userId="6950b4c7-f9dc-4bc4-8fd5-997e947770fb" providerId="ADAL" clId="{D891FDA5-388A-44E5-8AB8-99B3681EF256}" dt="2024-05-06T14:22:21.352" v="396" actId="2711"/>
          <ac:spMkLst>
            <pc:docMk/>
            <pc:sldMk cId="2613814031" sldId="2147470267"/>
            <ac:spMk id="6" creationId="{19945F48-F30D-1D5D-CA32-1D45B46897C0}"/>
          </ac:spMkLst>
        </pc:spChg>
        <pc:spChg chg="mod">
          <ac:chgData name="Frédéric POULIGNY" userId="6950b4c7-f9dc-4bc4-8fd5-997e947770fb" providerId="ADAL" clId="{D891FDA5-388A-44E5-8AB8-99B3681EF256}" dt="2024-05-06T14:22:21.352" v="396" actId="2711"/>
          <ac:spMkLst>
            <pc:docMk/>
            <pc:sldMk cId="2613814031" sldId="2147470267"/>
            <ac:spMk id="7" creationId="{1E2C0146-647D-3E94-0AEB-6F47195A6ABE}"/>
          </ac:spMkLst>
        </pc:spChg>
        <pc:spChg chg="mod">
          <ac:chgData name="Frédéric POULIGNY" userId="6950b4c7-f9dc-4bc4-8fd5-997e947770fb" providerId="ADAL" clId="{D891FDA5-388A-44E5-8AB8-99B3681EF256}" dt="2024-05-06T14:22:21.352" v="396" actId="2711"/>
          <ac:spMkLst>
            <pc:docMk/>
            <pc:sldMk cId="2613814031" sldId="2147470267"/>
            <ac:spMk id="8" creationId="{8D250EFA-1832-52F7-3A3C-8C1A5C3FB79E}"/>
          </ac:spMkLst>
        </pc:spChg>
        <pc:spChg chg="mod">
          <ac:chgData name="Frédéric POULIGNY" userId="6950b4c7-f9dc-4bc4-8fd5-997e947770fb" providerId="ADAL" clId="{D891FDA5-388A-44E5-8AB8-99B3681EF256}" dt="2024-05-06T14:22:21.352" v="396" actId="2711"/>
          <ac:spMkLst>
            <pc:docMk/>
            <pc:sldMk cId="2613814031" sldId="2147470267"/>
            <ac:spMk id="12" creationId="{4628E21F-845F-D63C-A036-8B6A099D05B1}"/>
          </ac:spMkLst>
        </pc:spChg>
        <pc:spChg chg="mod">
          <ac:chgData name="Frédéric POULIGNY" userId="6950b4c7-f9dc-4bc4-8fd5-997e947770fb" providerId="ADAL" clId="{D891FDA5-388A-44E5-8AB8-99B3681EF256}" dt="2024-05-06T14:22:21.352" v="396" actId="2711"/>
          <ac:spMkLst>
            <pc:docMk/>
            <pc:sldMk cId="2613814031" sldId="2147470267"/>
            <ac:spMk id="13" creationId="{8118E704-0409-A062-FC85-0856CF571D80}"/>
          </ac:spMkLst>
        </pc:spChg>
        <pc:spChg chg="mod">
          <ac:chgData name="Frédéric POULIGNY" userId="6950b4c7-f9dc-4bc4-8fd5-997e947770fb" providerId="ADAL" clId="{D891FDA5-388A-44E5-8AB8-99B3681EF256}" dt="2024-05-06T14:22:21.352" v="396" actId="2711"/>
          <ac:spMkLst>
            <pc:docMk/>
            <pc:sldMk cId="2613814031" sldId="2147470267"/>
            <ac:spMk id="14" creationId="{9B3217FC-A7FA-1DEE-2A5E-E37C08EA8F42}"/>
          </ac:spMkLst>
        </pc:spChg>
        <pc:spChg chg="mod">
          <ac:chgData name="Frédéric POULIGNY" userId="6950b4c7-f9dc-4bc4-8fd5-997e947770fb" providerId="ADAL" clId="{D891FDA5-388A-44E5-8AB8-99B3681EF256}" dt="2024-05-06T14:22:21.352" v="396" actId="2711"/>
          <ac:spMkLst>
            <pc:docMk/>
            <pc:sldMk cId="2613814031" sldId="2147470267"/>
            <ac:spMk id="16" creationId="{90CAFF87-3B80-F028-3AFD-D54478106137}"/>
          </ac:spMkLst>
        </pc:spChg>
        <pc:spChg chg="mod">
          <ac:chgData name="Frédéric POULIGNY" userId="6950b4c7-f9dc-4bc4-8fd5-997e947770fb" providerId="ADAL" clId="{D891FDA5-388A-44E5-8AB8-99B3681EF256}" dt="2024-05-06T14:22:21.352" v="396" actId="2711"/>
          <ac:spMkLst>
            <pc:docMk/>
            <pc:sldMk cId="2613814031" sldId="2147470267"/>
            <ac:spMk id="17" creationId="{1B012699-A020-BAAB-1459-4DD470FD124D}"/>
          </ac:spMkLst>
        </pc:spChg>
        <pc:spChg chg="mod">
          <ac:chgData name="Frédéric POULIGNY" userId="6950b4c7-f9dc-4bc4-8fd5-997e947770fb" providerId="ADAL" clId="{D891FDA5-388A-44E5-8AB8-99B3681EF256}" dt="2024-05-06T14:22:21.352" v="396" actId="2711"/>
          <ac:spMkLst>
            <pc:docMk/>
            <pc:sldMk cId="2613814031" sldId="2147470267"/>
            <ac:spMk id="19" creationId="{5B0363F2-D750-3EF2-2A3A-069B9375259D}"/>
          </ac:spMkLst>
        </pc:spChg>
        <pc:spChg chg="mod ord">
          <ac:chgData name="Frédéric POULIGNY" userId="6950b4c7-f9dc-4bc4-8fd5-997e947770fb" providerId="ADAL" clId="{D891FDA5-388A-44E5-8AB8-99B3681EF256}" dt="2024-05-06T14:22:21.352" v="396" actId="2711"/>
          <ac:spMkLst>
            <pc:docMk/>
            <pc:sldMk cId="2613814031" sldId="2147470267"/>
            <ac:spMk id="20" creationId="{0D5D00E6-85A8-606A-9F0F-2B2BC5CB6067}"/>
          </ac:spMkLst>
        </pc:spChg>
        <pc:spChg chg="del mod ord">
          <ac:chgData name="Frédéric POULIGNY" userId="6950b4c7-f9dc-4bc4-8fd5-997e947770fb" providerId="ADAL" clId="{D891FDA5-388A-44E5-8AB8-99B3681EF256}" dt="2024-05-07T08:24:41.564" v="952" actId="478"/>
          <ac:spMkLst>
            <pc:docMk/>
            <pc:sldMk cId="2613814031" sldId="2147470267"/>
            <ac:spMk id="22" creationId="{D1A2F6AD-64DC-15CD-D26E-3105AFB5142F}"/>
          </ac:spMkLst>
        </pc:spChg>
      </pc:sldChg>
      <pc:sldMasterChg chg="modSldLayout">
        <pc:chgData name="Frédéric POULIGNY" userId="6950b4c7-f9dc-4bc4-8fd5-997e947770fb" providerId="ADAL" clId="{D891FDA5-388A-44E5-8AB8-99B3681EF256}" dt="2024-05-06T14:21:34.939" v="392" actId="478"/>
        <pc:sldMasterMkLst>
          <pc:docMk/>
          <pc:sldMasterMk cId="59814881" sldId="2147483648"/>
        </pc:sldMasterMkLst>
        <pc:sldLayoutChg chg="delSp mod">
          <pc:chgData name="Frédéric POULIGNY" userId="6950b4c7-f9dc-4bc4-8fd5-997e947770fb" providerId="ADAL" clId="{D891FDA5-388A-44E5-8AB8-99B3681EF256}" dt="2024-05-06T14:21:34.939" v="392" actId="478"/>
          <pc:sldLayoutMkLst>
            <pc:docMk/>
            <pc:sldMasterMk cId="59814881" sldId="2147483648"/>
            <pc:sldLayoutMk cId="1671977906" sldId="2147483650"/>
          </pc:sldLayoutMkLst>
          <pc:spChg chg="del">
            <ac:chgData name="Frédéric POULIGNY" userId="6950b4c7-f9dc-4bc4-8fd5-997e947770fb" providerId="ADAL" clId="{D891FDA5-388A-44E5-8AB8-99B3681EF256}" dt="2024-05-06T14:21:34.939" v="392" actId="478"/>
            <ac:spMkLst>
              <pc:docMk/>
              <pc:sldMasterMk cId="59814881" sldId="2147483648"/>
              <pc:sldLayoutMk cId="1671977906" sldId="2147483650"/>
              <ac:spMk id="13" creationId="{9CA373EB-07CD-2A41-9E11-6152CBD10C3F}"/>
            </ac:spMkLst>
          </pc:spChg>
        </pc:sldLayoutChg>
      </pc:sldMasterChg>
    </pc:docChg>
  </pc:docChgLst>
  <pc:docChgLst>
    <pc:chgData name="Damien SELVA" userId="133961e4-541a-463d-adbe-40f16e9ecdbb" providerId="ADAL" clId="{CE5C3BDE-DDD2-4E73-B20F-3FFE9CBF5849}"/>
    <pc:docChg chg="undo custSel addSld delSld modSld">
      <pc:chgData name="Damien SELVA" userId="133961e4-541a-463d-adbe-40f16e9ecdbb" providerId="ADAL" clId="{CE5C3BDE-DDD2-4E73-B20F-3FFE9CBF5849}" dt="2024-05-14T16:30:04.099" v="2243" actId="20577"/>
      <pc:docMkLst>
        <pc:docMk/>
      </pc:docMkLst>
      <pc:sldChg chg="addSp delSp modSp mod modAnim">
        <pc:chgData name="Damien SELVA" userId="133961e4-541a-463d-adbe-40f16e9ecdbb" providerId="ADAL" clId="{CE5C3BDE-DDD2-4E73-B20F-3FFE9CBF5849}" dt="2024-05-14T16:30:04.099" v="2243" actId="20577"/>
        <pc:sldMkLst>
          <pc:docMk/>
          <pc:sldMk cId="113109465" sldId="265"/>
        </pc:sldMkLst>
        <pc:spChg chg="mod">
          <ac:chgData name="Damien SELVA" userId="133961e4-541a-463d-adbe-40f16e9ecdbb" providerId="ADAL" clId="{CE5C3BDE-DDD2-4E73-B20F-3FFE9CBF5849}" dt="2024-05-14T15:52:02.174" v="937" actId="20577"/>
          <ac:spMkLst>
            <pc:docMk/>
            <pc:sldMk cId="113109465" sldId="265"/>
            <ac:spMk id="4" creationId="{7AD8FAE3-5127-504F-EE72-F70948E48EAC}"/>
          </ac:spMkLst>
        </pc:spChg>
        <pc:spChg chg="mod">
          <ac:chgData name="Damien SELVA" userId="133961e4-541a-463d-adbe-40f16e9ecdbb" providerId="ADAL" clId="{CE5C3BDE-DDD2-4E73-B20F-3FFE9CBF5849}" dt="2024-05-14T16:10:03.818" v="1622" actId="14100"/>
          <ac:spMkLst>
            <pc:docMk/>
            <pc:sldMk cId="113109465" sldId="265"/>
            <ac:spMk id="9" creationId="{1E9991A3-AC77-3481-B767-839FB1ECF7E9}"/>
          </ac:spMkLst>
        </pc:spChg>
        <pc:spChg chg="del">
          <ac:chgData name="Damien SELVA" userId="133961e4-541a-463d-adbe-40f16e9ecdbb" providerId="ADAL" clId="{CE5C3BDE-DDD2-4E73-B20F-3FFE9CBF5849}" dt="2024-05-14T15:57:30.452" v="1241" actId="478"/>
          <ac:spMkLst>
            <pc:docMk/>
            <pc:sldMk cId="113109465" sldId="265"/>
            <ac:spMk id="10" creationId="{8FA66C00-F220-5CA2-D204-512D143BD85E}"/>
          </ac:spMkLst>
        </pc:spChg>
        <pc:spChg chg="mod">
          <ac:chgData name="Damien SELVA" userId="133961e4-541a-463d-adbe-40f16e9ecdbb" providerId="ADAL" clId="{CE5C3BDE-DDD2-4E73-B20F-3FFE9CBF5849}" dt="2024-05-14T16:10:17.795" v="1626" actId="14100"/>
          <ac:spMkLst>
            <pc:docMk/>
            <pc:sldMk cId="113109465" sldId="265"/>
            <ac:spMk id="11" creationId="{F68B82AD-E67F-5E12-62DF-AFB5C41B0C26}"/>
          </ac:spMkLst>
        </pc:spChg>
        <pc:spChg chg="mod">
          <ac:chgData name="Damien SELVA" userId="133961e4-541a-463d-adbe-40f16e9ecdbb" providerId="ADAL" clId="{CE5C3BDE-DDD2-4E73-B20F-3FFE9CBF5849}" dt="2024-05-14T16:10:20.633" v="1627" actId="14100"/>
          <ac:spMkLst>
            <pc:docMk/>
            <pc:sldMk cId="113109465" sldId="265"/>
            <ac:spMk id="12" creationId="{DBD60C3A-1ABC-21E8-9A1A-03C89099D5C5}"/>
          </ac:spMkLst>
        </pc:spChg>
        <pc:spChg chg="del">
          <ac:chgData name="Damien SELVA" userId="133961e4-541a-463d-adbe-40f16e9ecdbb" providerId="ADAL" clId="{CE5C3BDE-DDD2-4E73-B20F-3FFE9CBF5849}" dt="2024-05-14T15:57:36.646" v="1245" actId="478"/>
          <ac:spMkLst>
            <pc:docMk/>
            <pc:sldMk cId="113109465" sldId="265"/>
            <ac:spMk id="13" creationId="{953E7F1E-6F75-6BE6-9955-C827B48C2112}"/>
          </ac:spMkLst>
        </pc:spChg>
        <pc:spChg chg="mod">
          <ac:chgData name="Damien SELVA" userId="133961e4-541a-463d-adbe-40f16e9ecdbb" providerId="ADAL" clId="{CE5C3BDE-DDD2-4E73-B20F-3FFE9CBF5849}" dt="2024-05-14T16:10:23.019" v="1628" actId="14100"/>
          <ac:spMkLst>
            <pc:docMk/>
            <pc:sldMk cId="113109465" sldId="265"/>
            <ac:spMk id="14" creationId="{F3ED24FF-765B-5642-28EB-2F513673035D}"/>
          </ac:spMkLst>
        </pc:spChg>
        <pc:spChg chg="del">
          <ac:chgData name="Damien SELVA" userId="133961e4-541a-463d-adbe-40f16e9ecdbb" providerId="ADAL" clId="{CE5C3BDE-DDD2-4E73-B20F-3FFE9CBF5849}" dt="2024-05-14T15:57:32.273" v="1242" actId="478"/>
          <ac:spMkLst>
            <pc:docMk/>
            <pc:sldMk cId="113109465" sldId="265"/>
            <ac:spMk id="15" creationId="{4E5656BE-68E3-7177-6382-28FD04A71C9A}"/>
          </ac:spMkLst>
        </pc:spChg>
        <pc:spChg chg="mod">
          <ac:chgData name="Damien SELVA" userId="133961e4-541a-463d-adbe-40f16e9ecdbb" providerId="ADAL" clId="{CE5C3BDE-DDD2-4E73-B20F-3FFE9CBF5849}" dt="2024-05-14T16:10:00.390" v="1621" actId="20577"/>
          <ac:spMkLst>
            <pc:docMk/>
            <pc:sldMk cId="113109465" sldId="265"/>
            <ac:spMk id="16" creationId="{141EF72D-3FD3-8FEA-E429-0EDEBBAFFBAF}"/>
          </ac:spMkLst>
        </pc:spChg>
        <pc:spChg chg="mod">
          <ac:chgData name="Damien SELVA" userId="133961e4-541a-463d-adbe-40f16e9ecdbb" providerId="ADAL" clId="{CE5C3BDE-DDD2-4E73-B20F-3FFE9CBF5849}" dt="2024-05-14T16:18:02.526" v="2082" actId="1076"/>
          <ac:spMkLst>
            <pc:docMk/>
            <pc:sldMk cId="113109465" sldId="265"/>
            <ac:spMk id="17" creationId="{07978356-8E28-2891-B16B-6C9F5868CAC0}"/>
          </ac:spMkLst>
        </pc:spChg>
        <pc:spChg chg="mod">
          <ac:chgData name="Damien SELVA" userId="133961e4-541a-463d-adbe-40f16e9ecdbb" providerId="ADAL" clId="{CE5C3BDE-DDD2-4E73-B20F-3FFE9CBF5849}" dt="2024-05-14T16:10:15.194" v="1625" actId="14100"/>
          <ac:spMkLst>
            <pc:docMk/>
            <pc:sldMk cId="113109465" sldId="265"/>
            <ac:spMk id="18" creationId="{1C08AAC9-ADC1-0989-5D58-4A9FFB1C9FA4}"/>
          </ac:spMkLst>
        </pc:spChg>
        <pc:spChg chg="mod">
          <ac:chgData name="Damien SELVA" userId="133961e4-541a-463d-adbe-40f16e9ecdbb" providerId="ADAL" clId="{CE5C3BDE-DDD2-4E73-B20F-3FFE9CBF5849}" dt="2024-05-14T16:10:00.390" v="1621" actId="20577"/>
          <ac:spMkLst>
            <pc:docMk/>
            <pc:sldMk cId="113109465" sldId="265"/>
            <ac:spMk id="19" creationId="{025DB396-3435-6E1E-E4CD-C65CDCFDF665}"/>
          </ac:spMkLst>
        </pc:spChg>
        <pc:spChg chg="mod">
          <ac:chgData name="Damien SELVA" userId="133961e4-541a-463d-adbe-40f16e9ecdbb" providerId="ADAL" clId="{CE5C3BDE-DDD2-4E73-B20F-3FFE9CBF5849}" dt="2024-05-14T16:10:00.390" v="1621" actId="20577"/>
          <ac:spMkLst>
            <pc:docMk/>
            <pc:sldMk cId="113109465" sldId="265"/>
            <ac:spMk id="20" creationId="{CC651108-99D4-FF40-7E00-66FC1991F21E}"/>
          </ac:spMkLst>
        </pc:spChg>
        <pc:spChg chg="mod">
          <ac:chgData name="Damien SELVA" userId="133961e4-541a-463d-adbe-40f16e9ecdbb" providerId="ADAL" clId="{CE5C3BDE-DDD2-4E73-B20F-3FFE9CBF5849}" dt="2024-05-14T16:10:00.390" v="1621" actId="20577"/>
          <ac:spMkLst>
            <pc:docMk/>
            <pc:sldMk cId="113109465" sldId="265"/>
            <ac:spMk id="21" creationId="{44414C56-BFC5-6D3E-79B3-8DEBF166D15B}"/>
          </ac:spMkLst>
        </pc:spChg>
        <pc:spChg chg="mod">
          <ac:chgData name="Damien SELVA" userId="133961e4-541a-463d-adbe-40f16e9ecdbb" providerId="ADAL" clId="{CE5C3BDE-DDD2-4E73-B20F-3FFE9CBF5849}" dt="2024-05-14T16:10:00.390" v="1621" actId="20577"/>
          <ac:spMkLst>
            <pc:docMk/>
            <pc:sldMk cId="113109465" sldId="265"/>
            <ac:spMk id="22" creationId="{BE70A0C1-D489-E7BE-4487-B87E40AE2ACC}"/>
          </ac:spMkLst>
        </pc:spChg>
        <pc:spChg chg="mod">
          <ac:chgData name="Damien SELVA" userId="133961e4-541a-463d-adbe-40f16e9ecdbb" providerId="ADAL" clId="{CE5C3BDE-DDD2-4E73-B20F-3FFE9CBF5849}" dt="2024-05-14T16:10:00.390" v="1621" actId="20577"/>
          <ac:spMkLst>
            <pc:docMk/>
            <pc:sldMk cId="113109465" sldId="265"/>
            <ac:spMk id="23" creationId="{C2D374CD-DFEB-A67D-3373-992F320CB2EB}"/>
          </ac:spMkLst>
        </pc:spChg>
        <pc:spChg chg="mod">
          <ac:chgData name="Damien SELVA" userId="133961e4-541a-463d-adbe-40f16e9ecdbb" providerId="ADAL" clId="{CE5C3BDE-DDD2-4E73-B20F-3FFE9CBF5849}" dt="2024-05-14T16:11:12.161" v="1637" actId="1076"/>
          <ac:spMkLst>
            <pc:docMk/>
            <pc:sldMk cId="113109465" sldId="265"/>
            <ac:spMk id="25" creationId="{8781D739-2936-95F6-B02B-322E6420E53E}"/>
          </ac:spMkLst>
        </pc:spChg>
        <pc:spChg chg="mod">
          <ac:chgData name="Damien SELVA" userId="133961e4-541a-463d-adbe-40f16e9ecdbb" providerId="ADAL" clId="{CE5C3BDE-DDD2-4E73-B20F-3FFE9CBF5849}" dt="2024-05-14T16:11:12.161" v="1637" actId="1076"/>
          <ac:spMkLst>
            <pc:docMk/>
            <pc:sldMk cId="113109465" sldId="265"/>
            <ac:spMk id="28" creationId="{372C5F49-74B7-771A-CFDA-28B877217EDA}"/>
          </ac:spMkLst>
        </pc:spChg>
        <pc:spChg chg="mod">
          <ac:chgData name="Damien SELVA" userId="133961e4-541a-463d-adbe-40f16e9ecdbb" providerId="ADAL" clId="{CE5C3BDE-DDD2-4E73-B20F-3FFE9CBF5849}" dt="2024-05-14T16:18:05.432" v="2088" actId="1035"/>
          <ac:spMkLst>
            <pc:docMk/>
            <pc:sldMk cId="113109465" sldId="265"/>
            <ac:spMk id="30" creationId="{B1742C35-1F97-AEDB-C465-CFB33691214B}"/>
          </ac:spMkLst>
        </pc:spChg>
        <pc:spChg chg="mod">
          <ac:chgData name="Damien SELVA" userId="133961e4-541a-463d-adbe-40f16e9ecdbb" providerId="ADAL" clId="{CE5C3BDE-DDD2-4E73-B20F-3FFE9CBF5849}" dt="2024-05-14T16:10:00.390" v="1621" actId="20577"/>
          <ac:spMkLst>
            <pc:docMk/>
            <pc:sldMk cId="113109465" sldId="265"/>
            <ac:spMk id="31" creationId="{151A4C5E-5C3A-D701-B3D6-D8FC0B8FF69B}"/>
          </ac:spMkLst>
        </pc:spChg>
        <pc:spChg chg="mod">
          <ac:chgData name="Damien SELVA" userId="133961e4-541a-463d-adbe-40f16e9ecdbb" providerId="ADAL" clId="{CE5C3BDE-DDD2-4E73-B20F-3FFE9CBF5849}" dt="2024-05-14T16:11:12.161" v="1637" actId="1076"/>
          <ac:spMkLst>
            <pc:docMk/>
            <pc:sldMk cId="113109465" sldId="265"/>
            <ac:spMk id="33" creationId="{D48882E0-3140-6BD6-25CF-7233804FB470}"/>
          </ac:spMkLst>
        </pc:spChg>
        <pc:spChg chg="mod">
          <ac:chgData name="Damien SELVA" userId="133961e4-541a-463d-adbe-40f16e9ecdbb" providerId="ADAL" clId="{CE5C3BDE-DDD2-4E73-B20F-3FFE9CBF5849}" dt="2024-05-14T16:10:00.390" v="1621" actId="20577"/>
          <ac:spMkLst>
            <pc:docMk/>
            <pc:sldMk cId="113109465" sldId="265"/>
            <ac:spMk id="35" creationId="{041EF4DE-476A-672E-32E8-A7963022AD1D}"/>
          </ac:spMkLst>
        </pc:spChg>
        <pc:spChg chg="mod">
          <ac:chgData name="Damien SELVA" userId="133961e4-541a-463d-adbe-40f16e9ecdbb" providerId="ADAL" clId="{CE5C3BDE-DDD2-4E73-B20F-3FFE9CBF5849}" dt="2024-05-14T16:11:12.161" v="1637" actId="1076"/>
          <ac:spMkLst>
            <pc:docMk/>
            <pc:sldMk cId="113109465" sldId="265"/>
            <ac:spMk id="37" creationId="{07F05B4C-E63E-E931-D845-34A87530C2CA}"/>
          </ac:spMkLst>
        </pc:spChg>
        <pc:spChg chg="mod">
          <ac:chgData name="Damien SELVA" userId="133961e4-541a-463d-adbe-40f16e9ecdbb" providerId="ADAL" clId="{CE5C3BDE-DDD2-4E73-B20F-3FFE9CBF5849}" dt="2024-05-14T16:11:12.161" v="1637" actId="1076"/>
          <ac:spMkLst>
            <pc:docMk/>
            <pc:sldMk cId="113109465" sldId="265"/>
            <ac:spMk id="40" creationId="{E967E878-898D-C59B-82D1-69EEDA09228E}"/>
          </ac:spMkLst>
        </pc:spChg>
        <pc:spChg chg="mod">
          <ac:chgData name="Damien SELVA" userId="133961e4-541a-463d-adbe-40f16e9ecdbb" providerId="ADAL" clId="{CE5C3BDE-DDD2-4E73-B20F-3FFE9CBF5849}" dt="2024-05-14T16:10:00.390" v="1621" actId="20577"/>
          <ac:spMkLst>
            <pc:docMk/>
            <pc:sldMk cId="113109465" sldId="265"/>
            <ac:spMk id="45" creationId="{5E67FF78-271D-BC9B-236B-D88D8D0E49BB}"/>
          </ac:spMkLst>
        </pc:spChg>
        <pc:spChg chg="mod">
          <ac:chgData name="Damien SELVA" userId="133961e4-541a-463d-adbe-40f16e9ecdbb" providerId="ADAL" clId="{CE5C3BDE-DDD2-4E73-B20F-3FFE9CBF5849}" dt="2024-05-14T16:11:12.161" v="1637" actId="1076"/>
          <ac:spMkLst>
            <pc:docMk/>
            <pc:sldMk cId="113109465" sldId="265"/>
            <ac:spMk id="47" creationId="{08872A39-93DA-B1D8-32FC-FF33255586EA}"/>
          </ac:spMkLst>
        </pc:spChg>
        <pc:spChg chg="add del mod">
          <ac:chgData name="Damien SELVA" userId="133961e4-541a-463d-adbe-40f16e9ecdbb" providerId="ADAL" clId="{CE5C3BDE-DDD2-4E73-B20F-3FFE9CBF5849}" dt="2024-05-14T16:10:00.390" v="1621" actId="20577"/>
          <ac:spMkLst>
            <pc:docMk/>
            <pc:sldMk cId="113109465" sldId="265"/>
            <ac:spMk id="49" creationId="{C77E4FFC-51A8-121F-06C0-9D82758996BF}"/>
          </ac:spMkLst>
        </pc:spChg>
        <pc:spChg chg="mod">
          <ac:chgData name="Damien SELVA" userId="133961e4-541a-463d-adbe-40f16e9ecdbb" providerId="ADAL" clId="{CE5C3BDE-DDD2-4E73-B20F-3FFE9CBF5849}" dt="2024-05-14T16:10:00.390" v="1621" actId="20577"/>
          <ac:spMkLst>
            <pc:docMk/>
            <pc:sldMk cId="113109465" sldId="265"/>
            <ac:spMk id="50" creationId="{4A692B3C-4F39-64CD-54F0-64C8F44FDC82}"/>
          </ac:spMkLst>
        </pc:spChg>
        <pc:spChg chg="mod">
          <ac:chgData name="Damien SELVA" userId="133961e4-541a-463d-adbe-40f16e9ecdbb" providerId="ADAL" clId="{CE5C3BDE-DDD2-4E73-B20F-3FFE9CBF5849}" dt="2024-05-14T16:11:12.161" v="1637" actId="1076"/>
          <ac:spMkLst>
            <pc:docMk/>
            <pc:sldMk cId="113109465" sldId="265"/>
            <ac:spMk id="52" creationId="{A4A46906-552D-5518-2264-4FEDE20C413F}"/>
          </ac:spMkLst>
        </pc:spChg>
        <pc:spChg chg="del mod">
          <ac:chgData name="Damien SELVA" userId="133961e4-541a-463d-adbe-40f16e9ecdbb" providerId="ADAL" clId="{CE5C3BDE-DDD2-4E73-B20F-3FFE9CBF5849}" dt="2024-05-14T15:55:38.825" v="1148" actId="478"/>
          <ac:spMkLst>
            <pc:docMk/>
            <pc:sldMk cId="113109465" sldId="265"/>
            <ac:spMk id="55" creationId="{C442E50C-D73E-1AE0-F364-07FF30FEA244}"/>
          </ac:spMkLst>
        </pc:spChg>
        <pc:spChg chg="mod">
          <ac:chgData name="Damien SELVA" userId="133961e4-541a-463d-adbe-40f16e9ecdbb" providerId="ADAL" clId="{CE5C3BDE-DDD2-4E73-B20F-3FFE9CBF5849}" dt="2024-05-14T16:30:04.099" v="2243" actId="20577"/>
          <ac:spMkLst>
            <pc:docMk/>
            <pc:sldMk cId="113109465" sldId="265"/>
            <ac:spMk id="57" creationId="{3A2A200C-B6E9-2A0A-CBB9-ACF399C7A765}"/>
          </ac:spMkLst>
        </pc:spChg>
        <pc:spChg chg="del mod">
          <ac:chgData name="Damien SELVA" userId="133961e4-541a-463d-adbe-40f16e9ecdbb" providerId="ADAL" clId="{CE5C3BDE-DDD2-4E73-B20F-3FFE9CBF5849}" dt="2024-05-14T15:55:30.449" v="1144" actId="478"/>
          <ac:spMkLst>
            <pc:docMk/>
            <pc:sldMk cId="113109465" sldId="265"/>
            <ac:spMk id="58" creationId="{25211D63-BADD-39EF-0D28-95BE414735A3}"/>
          </ac:spMkLst>
        </pc:spChg>
        <pc:spChg chg="del">
          <ac:chgData name="Damien SELVA" userId="133961e4-541a-463d-adbe-40f16e9ecdbb" providerId="ADAL" clId="{CE5C3BDE-DDD2-4E73-B20F-3FFE9CBF5849}" dt="2024-05-14T15:55:34.674" v="1146" actId="478"/>
          <ac:spMkLst>
            <pc:docMk/>
            <pc:sldMk cId="113109465" sldId="265"/>
            <ac:spMk id="60" creationId="{11642ABD-58BF-F347-7FF2-434659EC830A}"/>
          </ac:spMkLst>
        </pc:spChg>
        <pc:spChg chg="del">
          <ac:chgData name="Damien SELVA" userId="133961e4-541a-463d-adbe-40f16e9ecdbb" providerId="ADAL" clId="{CE5C3BDE-DDD2-4E73-B20F-3FFE9CBF5849}" dt="2024-05-14T16:15:15.721" v="1890" actId="478"/>
          <ac:spMkLst>
            <pc:docMk/>
            <pc:sldMk cId="113109465" sldId="265"/>
            <ac:spMk id="64" creationId="{A83D6E2A-4218-EF78-DA88-CCB6970EE4E5}"/>
          </ac:spMkLst>
        </pc:spChg>
        <pc:spChg chg="add mod topLvl">
          <ac:chgData name="Damien SELVA" userId="133961e4-541a-463d-adbe-40f16e9ecdbb" providerId="ADAL" clId="{CE5C3BDE-DDD2-4E73-B20F-3FFE9CBF5849}" dt="2024-05-14T16:13:54.010" v="1665" actId="1076"/>
          <ac:spMkLst>
            <pc:docMk/>
            <pc:sldMk cId="113109465" sldId="265"/>
            <ac:spMk id="72" creationId="{2AB119AA-FCA6-4EDB-2595-FAFF01ECF116}"/>
          </ac:spMkLst>
        </pc:spChg>
        <pc:spChg chg="add mod">
          <ac:chgData name="Damien SELVA" userId="133961e4-541a-463d-adbe-40f16e9ecdbb" providerId="ADAL" clId="{CE5C3BDE-DDD2-4E73-B20F-3FFE9CBF5849}" dt="2024-05-14T16:13:59.130" v="1666" actId="1076"/>
          <ac:spMkLst>
            <pc:docMk/>
            <pc:sldMk cId="113109465" sldId="265"/>
            <ac:spMk id="75" creationId="{82657EB1-6A5A-AE0F-B1B2-41D11C6A5E9E}"/>
          </ac:spMkLst>
        </pc:spChg>
        <pc:spChg chg="add del">
          <ac:chgData name="Damien SELVA" userId="133961e4-541a-463d-adbe-40f16e9ecdbb" providerId="ADAL" clId="{CE5C3BDE-DDD2-4E73-B20F-3FFE9CBF5849}" dt="2024-05-14T16:01:13.678" v="1310" actId="22"/>
          <ac:spMkLst>
            <pc:docMk/>
            <pc:sldMk cId="113109465" sldId="265"/>
            <ac:spMk id="87" creationId="{D77C5E43-DA42-80D8-5DFA-564FCF5D5A44}"/>
          </ac:spMkLst>
        </pc:spChg>
        <pc:spChg chg="add mod">
          <ac:chgData name="Damien SELVA" userId="133961e4-541a-463d-adbe-40f16e9ecdbb" providerId="ADAL" clId="{CE5C3BDE-DDD2-4E73-B20F-3FFE9CBF5849}" dt="2024-05-14T16:16:30.705" v="2030" actId="115"/>
          <ac:spMkLst>
            <pc:docMk/>
            <pc:sldMk cId="113109465" sldId="265"/>
            <ac:spMk id="89" creationId="{73904227-5509-B61F-AD56-C3C908823242}"/>
          </ac:spMkLst>
        </pc:spChg>
        <pc:spChg chg="add mod">
          <ac:chgData name="Damien SELVA" userId="133961e4-541a-463d-adbe-40f16e9ecdbb" providerId="ADAL" clId="{CE5C3BDE-DDD2-4E73-B20F-3FFE9CBF5849}" dt="2024-05-14T16:11:03.562" v="1634" actId="164"/>
          <ac:spMkLst>
            <pc:docMk/>
            <pc:sldMk cId="113109465" sldId="265"/>
            <ac:spMk id="91" creationId="{C9406D13-80F4-DB70-769E-6BAA85FE97BC}"/>
          </ac:spMkLst>
        </pc:spChg>
        <pc:spChg chg="add mod">
          <ac:chgData name="Damien SELVA" userId="133961e4-541a-463d-adbe-40f16e9ecdbb" providerId="ADAL" clId="{CE5C3BDE-DDD2-4E73-B20F-3FFE9CBF5849}" dt="2024-05-14T16:11:03.562" v="1634" actId="164"/>
          <ac:spMkLst>
            <pc:docMk/>
            <pc:sldMk cId="113109465" sldId="265"/>
            <ac:spMk id="92" creationId="{786AC600-CEC7-5D48-8999-66DFD4D38F1B}"/>
          </ac:spMkLst>
        </pc:spChg>
        <pc:spChg chg="add mod">
          <ac:chgData name="Damien SELVA" userId="133961e4-541a-463d-adbe-40f16e9ecdbb" providerId="ADAL" clId="{CE5C3BDE-DDD2-4E73-B20F-3FFE9CBF5849}" dt="2024-05-14T16:11:03.562" v="1634" actId="164"/>
          <ac:spMkLst>
            <pc:docMk/>
            <pc:sldMk cId="113109465" sldId="265"/>
            <ac:spMk id="93" creationId="{B433E3E9-0B53-5D4B-3153-5D23422D2509}"/>
          </ac:spMkLst>
        </pc:spChg>
        <pc:spChg chg="add mod">
          <ac:chgData name="Damien SELVA" userId="133961e4-541a-463d-adbe-40f16e9ecdbb" providerId="ADAL" clId="{CE5C3BDE-DDD2-4E73-B20F-3FFE9CBF5849}" dt="2024-05-14T16:11:03.562" v="1634" actId="164"/>
          <ac:spMkLst>
            <pc:docMk/>
            <pc:sldMk cId="113109465" sldId="265"/>
            <ac:spMk id="94" creationId="{7A380179-CB1D-61D1-4054-9F0DC950A3BB}"/>
          </ac:spMkLst>
        </pc:spChg>
        <pc:spChg chg="add mod">
          <ac:chgData name="Damien SELVA" userId="133961e4-541a-463d-adbe-40f16e9ecdbb" providerId="ADAL" clId="{CE5C3BDE-DDD2-4E73-B20F-3FFE9CBF5849}" dt="2024-05-14T16:11:03.562" v="1634" actId="164"/>
          <ac:spMkLst>
            <pc:docMk/>
            <pc:sldMk cId="113109465" sldId="265"/>
            <ac:spMk id="95" creationId="{42281A4B-6AEC-5918-EB03-EE51C10F8DD0}"/>
          </ac:spMkLst>
        </pc:spChg>
        <pc:spChg chg="add mod">
          <ac:chgData name="Damien SELVA" userId="133961e4-541a-463d-adbe-40f16e9ecdbb" providerId="ADAL" clId="{CE5C3BDE-DDD2-4E73-B20F-3FFE9CBF5849}" dt="2024-05-14T16:11:03.562" v="1634" actId="164"/>
          <ac:spMkLst>
            <pc:docMk/>
            <pc:sldMk cId="113109465" sldId="265"/>
            <ac:spMk id="96" creationId="{86B7DC61-D317-2372-B136-05BDB50FAAFD}"/>
          </ac:spMkLst>
        </pc:spChg>
        <pc:spChg chg="add del mod">
          <ac:chgData name="Damien SELVA" userId="133961e4-541a-463d-adbe-40f16e9ecdbb" providerId="ADAL" clId="{CE5C3BDE-DDD2-4E73-B20F-3FFE9CBF5849}" dt="2024-05-14T16:10:36.714" v="1632" actId="478"/>
          <ac:spMkLst>
            <pc:docMk/>
            <pc:sldMk cId="113109465" sldId="265"/>
            <ac:spMk id="97" creationId="{E25AE8A3-181D-E2A9-5B85-A7FB9EC8A352}"/>
          </ac:spMkLst>
        </pc:spChg>
        <pc:grpChg chg="mod">
          <ac:chgData name="Damien SELVA" userId="133961e4-541a-463d-adbe-40f16e9ecdbb" providerId="ADAL" clId="{CE5C3BDE-DDD2-4E73-B20F-3FFE9CBF5849}" dt="2024-05-14T16:11:12.161" v="1637" actId="1076"/>
          <ac:grpSpMkLst>
            <pc:docMk/>
            <pc:sldMk cId="113109465" sldId="265"/>
            <ac:grpSpMk id="24" creationId="{317553C0-8AC2-35DE-55BB-F3AAE20C0921}"/>
          </ac:grpSpMkLst>
        </pc:grpChg>
        <pc:grpChg chg="mod">
          <ac:chgData name="Damien SELVA" userId="133961e4-541a-463d-adbe-40f16e9ecdbb" providerId="ADAL" clId="{CE5C3BDE-DDD2-4E73-B20F-3FFE9CBF5849}" dt="2024-05-14T16:11:12.161" v="1637" actId="1076"/>
          <ac:grpSpMkLst>
            <pc:docMk/>
            <pc:sldMk cId="113109465" sldId="265"/>
            <ac:grpSpMk id="27" creationId="{27E6DBF6-DFA5-E145-912D-5C75ABECA9DC}"/>
          </ac:grpSpMkLst>
        </pc:grpChg>
        <pc:grpChg chg="mod">
          <ac:chgData name="Damien SELVA" userId="133961e4-541a-463d-adbe-40f16e9ecdbb" providerId="ADAL" clId="{CE5C3BDE-DDD2-4E73-B20F-3FFE9CBF5849}" dt="2024-05-14T16:11:12.161" v="1637" actId="1076"/>
          <ac:grpSpMkLst>
            <pc:docMk/>
            <pc:sldMk cId="113109465" sldId="265"/>
            <ac:grpSpMk id="32" creationId="{E8B01C68-186A-DD81-00D7-B8704D51D6DE}"/>
          </ac:grpSpMkLst>
        </pc:grpChg>
        <pc:grpChg chg="mod">
          <ac:chgData name="Damien SELVA" userId="133961e4-541a-463d-adbe-40f16e9ecdbb" providerId="ADAL" clId="{CE5C3BDE-DDD2-4E73-B20F-3FFE9CBF5849}" dt="2024-05-14T16:11:12.161" v="1637" actId="1076"/>
          <ac:grpSpMkLst>
            <pc:docMk/>
            <pc:sldMk cId="113109465" sldId="265"/>
            <ac:grpSpMk id="36" creationId="{A08ADA38-3355-EDCE-4A87-187F45322B20}"/>
          </ac:grpSpMkLst>
        </pc:grpChg>
        <pc:grpChg chg="mod">
          <ac:chgData name="Damien SELVA" userId="133961e4-541a-463d-adbe-40f16e9ecdbb" providerId="ADAL" clId="{CE5C3BDE-DDD2-4E73-B20F-3FFE9CBF5849}" dt="2024-05-14T16:11:12.161" v="1637" actId="1076"/>
          <ac:grpSpMkLst>
            <pc:docMk/>
            <pc:sldMk cId="113109465" sldId="265"/>
            <ac:grpSpMk id="39" creationId="{D4A99EAD-3436-4BB8-957E-146E4F0EC7EB}"/>
          </ac:grpSpMkLst>
        </pc:grpChg>
        <pc:grpChg chg="mod">
          <ac:chgData name="Damien SELVA" userId="133961e4-541a-463d-adbe-40f16e9ecdbb" providerId="ADAL" clId="{CE5C3BDE-DDD2-4E73-B20F-3FFE9CBF5849}" dt="2024-05-14T16:11:12.161" v="1637" actId="1076"/>
          <ac:grpSpMkLst>
            <pc:docMk/>
            <pc:sldMk cId="113109465" sldId="265"/>
            <ac:grpSpMk id="41" creationId="{0F17CDC8-FED4-2201-D50E-56325F9149BE}"/>
          </ac:grpSpMkLst>
        </pc:grpChg>
        <pc:grpChg chg="mod">
          <ac:chgData name="Damien SELVA" userId="133961e4-541a-463d-adbe-40f16e9ecdbb" providerId="ADAL" clId="{CE5C3BDE-DDD2-4E73-B20F-3FFE9CBF5849}" dt="2024-05-14T16:11:12.161" v="1637" actId="1076"/>
          <ac:grpSpMkLst>
            <pc:docMk/>
            <pc:sldMk cId="113109465" sldId="265"/>
            <ac:grpSpMk id="46" creationId="{F9FD9147-EBE3-3D43-5A3B-73CFC2E83287}"/>
          </ac:grpSpMkLst>
        </pc:grpChg>
        <pc:grpChg chg="mod">
          <ac:chgData name="Damien SELVA" userId="133961e4-541a-463d-adbe-40f16e9ecdbb" providerId="ADAL" clId="{CE5C3BDE-DDD2-4E73-B20F-3FFE9CBF5849}" dt="2024-05-14T16:11:12.161" v="1637" actId="1076"/>
          <ac:grpSpMkLst>
            <pc:docMk/>
            <pc:sldMk cId="113109465" sldId="265"/>
            <ac:grpSpMk id="51" creationId="{9829AAD9-EF8F-4929-EAE6-67F8E67BD5B3}"/>
          </ac:grpSpMkLst>
        </pc:grpChg>
        <pc:grpChg chg="add del mod">
          <ac:chgData name="Damien SELVA" userId="133961e4-541a-463d-adbe-40f16e9ecdbb" providerId="ADAL" clId="{CE5C3BDE-DDD2-4E73-B20F-3FFE9CBF5849}" dt="2024-05-14T16:00:19.271" v="1291" actId="165"/>
          <ac:grpSpMkLst>
            <pc:docMk/>
            <pc:sldMk cId="113109465" sldId="265"/>
            <ac:grpSpMk id="59" creationId="{88122DE0-2C5F-EAE1-4D4A-EA84A3E065C3}"/>
          </ac:grpSpMkLst>
        </pc:grpChg>
        <pc:grpChg chg="add mod">
          <ac:chgData name="Damien SELVA" userId="133961e4-541a-463d-adbe-40f16e9ecdbb" providerId="ADAL" clId="{CE5C3BDE-DDD2-4E73-B20F-3FFE9CBF5849}" dt="2024-05-14T15:56:09.180" v="1156"/>
          <ac:grpSpMkLst>
            <pc:docMk/>
            <pc:sldMk cId="113109465" sldId="265"/>
            <ac:grpSpMk id="61" creationId="{19D2CC37-F70C-55CB-1E20-6437E565F5C2}"/>
          </ac:grpSpMkLst>
        </pc:grpChg>
        <pc:grpChg chg="add del mod">
          <ac:chgData name="Damien SELVA" userId="133961e4-541a-463d-adbe-40f16e9ecdbb" providerId="ADAL" clId="{CE5C3BDE-DDD2-4E73-B20F-3FFE9CBF5849}" dt="2024-05-14T16:00:28.458" v="1294" actId="478"/>
          <ac:grpSpMkLst>
            <pc:docMk/>
            <pc:sldMk cId="113109465" sldId="265"/>
            <ac:grpSpMk id="73" creationId="{F5393FA7-B46F-4AB2-DA4F-0A99BE1EB9B1}"/>
          </ac:grpSpMkLst>
        </pc:grpChg>
        <pc:grpChg chg="add mod">
          <ac:chgData name="Damien SELVA" userId="133961e4-541a-463d-adbe-40f16e9ecdbb" providerId="ADAL" clId="{CE5C3BDE-DDD2-4E73-B20F-3FFE9CBF5849}" dt="2024-05-14T16:11:12.161" v="1637" actId="1076"/>
          <ac:grpSpMkLst>
            <pc:docMk/>
            <pc:sldMk cId="113109465" sldId="265"/>
            <ac:grpSpMk id="74" creationId="{C1C74495-66B2-D02A-B1CC-8108AFDE05DD}"/>
          </ac:grpSpMkLst>
        </pc:grpChg>
        <pc:grpChg chg="add mod">
          <ac:chgData name="Damien SELVA" userId="133961e4-541a-463d-adbe-40f16e9ecdbb" providerId="ADAL" clId="{CE5C3BDE-DDD2-4E73-B20F-3FFE9CBF5849}" dt="2024-05-14T16:00:25.844" v="1293" actId="164"/>
          <ac:grpSpMkLst>
            <pc:docMk/>
            <pc:sldMk cId="113109465" sldId="265"/>
            <ac:grpSpMk id="76" creationId="{C176CF6C-81F7-F61C-29D2-3E6BEA702273}"/>
          </ac:grpSpMkLst>
        </pc:grpChg>
        <pc:grpChg chg="add mod">
          <ac:chgData name="Damien SELVA" userId="133961e4-541a-463d-adbe-40f16e9ecdbb" providerId="ADAL" clId="{CE5C3BDE-DDD2-4E73-B20F-3FFE9CBF5849}" dt="2024-05-14T16:00:28.848" v="1295"/>
          <ac:grpSpMkLst>
            <pc:docMk/>
            <pc:sldMk cId="113109465" sldId="265"/>
            <ac:grpSpMk id="77" creationId="{FB679DE7-4BEE-12ED-3C78-07C7E16D7793}"/>
          </ac:grpSpMkLst>
        </pc:grpChg>
        <pc:grpChg chg="add mod">
          <ac:chgData name="Damien SELVA" userId="133961e4-541a-463d-adbe-40f16e9ecdbb" providerId="ADAL" clId="{CE5C3BDE-DDD2-4E73-B20F-3FFE9CBF5849}" dt="2024-05-14T16:11:08.882" v="1636" actId="1076"/>
          <ac:grpSpMkLst>
            <pc:docMk/>
            <pc:sldMk cId="113109465" sldId="265"/>
            <ac:grpSpMk id="90" creationId="{73588394-4EC3-8873-D851-727C3E2D8E4B}"/>
          </ac:grpSpMkLst>
        </pc:grpChg>
        <pc:grpChg chg="add mod">
          <ac:chgData name="Damien SELVA" userId="133961e4-541a-463d-adbe-40f16e9ecdbb" providerId="ADAL" clId="{CE5C3BDE-DDD2-4E73-B20F-3FFE9CBF5849}" dt="2024-05-14T16:11:22.091" v="1640" actId="1076"/>
          <ac:grpSpMkLst>
            <pc:docMk/>
            <pc:sldMk cId="113109465" sldId="265"/>
            <ac:grpSpMk id="98" creationId="{7A52E370-5343-EDF4-5AA3-F66453B4BD49}"/>
          </ac:grpSpMkLst>
        </pc:grpChg>
        <pc:picChg chg="add mod topLvl">
          <ac:chgData name="Damien SELVA" userId="133961e4-541a-463d-adbe-40f16e9ecdbb" providerId="ADAL" clId="{CE5C3BDE-DDD2-4E73-B20F-3FFE9CBF5849}" dt="2024-05-14T16:00:25.844" v="1293" actId="164"/>
          <ac:picMkLst>
            <pc:docMk/>
            <pc:sldMk cId="113109465" sldId="265"/>
            <ac:picMk id="2" creationId="{F3C24C4D-B3C1-4E10-BB35-E5EC6A563203}"/>
          </ac:picMkLst>
        </pc:picChg>
        <pc:picChg chg="add mod topLvl">
          <ac:chgData name="Damien SELVA" userId="133961e4-541a-463d-adbe-40f16e9ecdbb" providerId="ADAL" clId="{CE5C3BDE-DDD2-4E73-B20F-3FFE9CBF5849}" dt="2024-05-14T16:00:25.844" v="1293" actId="164"/>
          <ac:picMkLst>
            <pc:docMk/>
            <pc:sldMk cId="113109465" sldId="265"/>
            <ac:picMk id="3" creationId="{C8D89C14-AF3F-ABCE-088D-D3E5DEA4F139}"/>
          </ac:picMkLst>
        </pc:picChg>
        <pc:picChg chg="add mod topLvl">
          <ac:chgData name="Damien SELVA" userId="133961e4-541a-463d-adbe-40f16e9ecdbb" providerId="ADAL" clId="{CE5C3BDE-DDD2-4E73-B20F-3FFE9CBF5849}" dt="2024-05-14T16:00:25.844" v="1293" actId="164"/>
          <ac:picMkLst>
            <pc:docMk/>
            <pc:sldMk cId="113109465" sldId="265"/>
            <ac:picMk id="5" creationId="{57B68030-90D5-9643-5A21-C2DE26439AF6}"/>
          </ac:picMkLst>
        </pc:picChg>
        <pc:picChg chg="add mod topLvl">
          <ac:chgData name="Damien SELVA" userId="133961e4-541a-463d-adbe-40f16e9ecdbb" providerId="ADAL" clId="{CE5C3BDE-DDD2-4E73-B20F-3FFE9CBF5849}" dt="2024-05-14T16:00:25.844" v="1293" actId="164"/>
          <ac:picMkLst>
            <pc:docMk/>
            <pc:sldMk cId="113109465" sldId="265"/>
            <ac:picMk id="6" creationId="{678AB896-C95F-AF50-45E7-62E6AE4E40B2}"/>
          </ac:picMkLst>
        </pc:picChg>
        <pc:picChg chg="add mod topLvl">
          <ac:chgData name="Damien SELVA" userId="133961e4-541a-463d-adbe-40f16e9ecdbb" providerId="ADAL" clId="{CE5C3BDE-DDD2-4E73-B20F-3FFE9CBF5849}" dt="2024-05-14T16:00:25.844" v="1293" actId="164"/>
          <ac:picMkLst>
            <pc:docMk/>
            <pc:sldMk cId="113109465" sldId="265"/>
            <ac:picMk id="7" creationId="{112402D0-601C-E179-E266-CDA51B509F1D}"/>
          </ac:picMkLst>
        </pc:picChg>
        <pc:picChg chg="mod">
          <ac:chgData name="Damien SELVA" userId="133961e4-541a-463d-adbe-40f16e9ecdbb" providerId="ADAL" clId="{CE5C3BDE-DDD2-4E73-B20F-3FFE9CBF5849}" dt="2024-05-14T16:11:12.161" v="1637" actId="1076"/>
          <ac:picMkLst>
            <pc:docMk/>
            <pc:sldMk cId="113109465" sldId="265"/>
            <ac:picMk id="26" creationId="{91A3D64C-2025-8543-F72F-6E9B2C0FE28F}"/>
          </ac:picMkLst>
        </pc:picChg>
        <pc:picChg chg="mod">
          <ac:chgData name="Damien SELVA" userId="133961e4-541a-463d-adbe-40f16e9ecdbb" providerId="ADAL" clId="{CE5C3BDE-DDD2-4E73-B20F-3FFE9CBF5849}" dt="2024-05-14T16:11:12.161" v="1637" actId="1076"/>
          <ac:picMkLst>
            <pc:docMk/>
            <pc:sldMk cId="113109465" sldId="265"/>
            <ac:picMk id="29" creationId="{EC1C2496-8AD8-3C36-777E-C1D6FC712BF1}"/>
          </ac:picMkLst>
        </pc:picChg>
        <pc:picChg chg="mod">
          <ac:chgData name="Damien SELVA" userId="133961e4-541a-463d-adbe-40f16e9ecdbb" providerId="ADAL" clId="{CE5C3BDE-DDD2-4E73-B20F-3FFE9CBF5849}" dt="2024-05-14T16:11:12.161" v="1637" actId="1076"/>
          <ac:picMkLst>
            <pc:docMk/>
            <pc:sldMk cId="113109465" sldId="265"/>
            <ac:picMk id="34" creationId="{BFB9F9C4-02FF-634F-8F2E-A01E42C1C6C1}"/>
          </ac:picMkLst>
        </pc:picChg>
        <pc:picChg chg="mod">
          <ac:chgData name="Damien SELVA" userId="133961e4-541a-463d-adbe-40f16e9ecdbb" providerId="ADAL" clId="{CE5C3BDE-DDD2-4E73-B20F-3FFE9CBF5849}" dt="2024-05-14T16:11:12.161" v="1637" actId="1076"/>
          <ac:picMkLst>
            <pc:docMk/>
            <pc:sldMk cId="113109465" sldId="265"/>
            <ac:picMk id="38" creationId="{9FFDA8F7-5B85-EDCC-F756-8A51A0478A9F}"/>
          </ac:picMkLst>
        </pc:picChg>
        <pc:picChg chg="mod">
          <ac:chgData name="Damien SELVA" userId="133961e4-541a-463d-adbe-40f16e9ecdbb" providerId="ADAL" clId="{CE5C3BDE-DDD2-4E73-B20F-3FFE9CBF5849}" dt="2024-05-14T16:11:12.161" v="1637" actId="1076"/>
          <ac:picMkLst>
            <pc:docMk/>
            <pc:sldMk cId="113109465" sldId="265"/>
            <ac:picMk id="42" creationId="{8DEA3FB8-DF8B-B421-8D85-BBC2599FE32A}"/>
          </ac:picMkLst>
        </pc:picChg>
        <pc:picChg chg="mod">
          <ac:chgData name="Damien SELVA" userId="133961e4-541a-463d-adbe-40f16e9ecdbb" providerId="ADAL" clId="{CE5C3BDE-DDD2-4E73-B20F-3FFE9CBF5849}" dt="2024-05-14T16:11:12.161" v="1637" actId="1076"/>
          <ac:picMkLst>
            <pc:docMk/>
            <pc:sldMk cId="113109465" sldId="265"/>
            <ac:picMk id="43" creationId="{D3AD8C8C-3DCF-B021-CA54-6276CE78C971}"/>
          </ac:picMkLst>
        </pc:picChg>
        <pc:picChg chg="mod">
          <ac:chgData name="Damien SELVA" userId="133961e4-541a-463d-adbe-40f16e9ecdbb" providerId="ADAL" clId="{CE5C3BDE-DDD2-4E73-B20F-3FFE9CBF5849}" dt="2024-05-14T16:11:12.161" v="1637" actId="1076"/>
          <ac:picMkLst>
            <pc:docMk/>
            <pc:sldMk cId="113109465" sldId="265"/>
            <ac:picMk id="44" creationId="{371DA6FD-E0BE-3593-551D-EFE273A35152}"/>
          </ac:picMkLst>
        </pc:picChg>
        <pc:picChg chg="mod">
          <ac:chgData name="Damien SELVA" userId="133961e4-541a-463d-adbe-40f16e9ecdbb" providerId="ADAL" clId="{CE5C3BDE-DDD2-4E73-B20F-3FFE9CBF5849}" dt="2024-05-14T16:11:12.161" v="1637" actId="1076"/>
          <ac:picMkLst>
            <pc:docMk/>
            <pc:sldMk cId="113109465" sldId="265"/>
            <ac:picMk id="48" creationId="{1E8D5AA5-57B9-E11B-CFBB-A1EC771B0CC0}"/>
          </ac:picMkLst>
        </pc:picChg>
        <pc:picChg chg="mod">
          <ac:chgData name="Damien SELVA" userId="133961e4-541a-463d-adbe-40f16e9ecdbb" providerId="ADAL" clId="{CE5C3BDE-DDD2-4E73-B20F-3FFE9CBF5849}" dt="2024-05-14T16:11:12.161" v="1637" actId="1076"/>
          <ac:picMkLst>
            <pc:docMk/>
            <pc:sldMk cId="113109465" sldId="265"/>
            <ac:picMk id="53" creationId="{655D6745-FA79-439C-ED94-E0BFC76DF1CC}"/>
          </ac:picMkLst>
        </pc:picChg>
        <pc:picChg chg="add mod topLvl">
          <ac:chgData name="Damien SELVA" userId="133961e4-541a-463d-adbe-40f16e9ecdbb" providerId="ADAL" clId="{CE5C3BDE-DDD2-4E73-B20F-3FFE9CBF5849}" dt="2024-05-14T16:00:25.844" v="1293" actId="164"/>
          <ac:picMkLst>
            <pc:docMk/>
            <pc:sldMk cId="113109465" sldId="265"/>
            <ac:picMk id="54" creationId="{08BDBD6B-2193-D98B-900E-8AA6FCD42302}"/>
          </ac:picMkLst>
        </pc:picChg>
        <pc:picChg chg="add mod topLvl">
          <ac:chgData name="Damien SELVA" userId="133961e4-541a-463d-adbe-40f16e9ecdbb" providerId="ADAL" clId="{CE5C3BDE-DDD2-4E73-B20F-3FFE9CBF5849}" dt="2024-05-14T16:00:25.844" v="1293" actId="164"/>
          <ac:picMkLst>
            <pc:docMk/>
            <pc:sldMk cId="113109465" sldId="265"/>
            <ac:picMk id="56" creationId="{50931D72-845C-B483-F497-A6CD4BAF60FA}"/>
          </ac:picMkLst>
        </pc:picChg>
        <pc:picChg chg="mod">
          <ac:chgData name="Damien SELVA" userId="133961e4-541a-463d-adbe-40f16e9ecdbb" providerId="ADAL" clId="{CE5C3BDE-DDD2-4E73-B20F-3FFE9CBF5849}" dt="2024-05-14T15:56:09.180" v="1156"/>
          <ac:picMkLst>
            <pc:docMk/>
            <pc:sldMk cId="113109465" sldId="265"/>
            <ac:picMk id="62" creationId="{141F2284-5019-FB2C-BECB-2E8008ED6DB6}"/>
          </ac:picMkLst>
        </pc:picChg>
        <pc:picChg chg="mod">
          <ac:chgData name="Damien SELVA" userId="133961e4-541a-463d-adbe-40f16e9ecdbb" providerId="ADAL" clId="{CE5C3BDE-DDD2-4E73-B20F-3FFE9CBF5849}" dt="2024-05-14T15:56:09.180" v="1156"/>
          <ac:picMkLst>
            <pc:docMk/>
            <pc:sldMk cId="113109465" sldId="265"/>
            <ac:picMk id="65" creationId="{3C7AB1BA-7B1E-B0E3-089E-99F8E03B0DE1}"/>
          </ac:picMkLst>
        </pc:picChg>
        <pc:picChg chg="mod">
          <ac:chgData name="Damien SELVA" userId="133961e4-541a-463d-adbe-40f16e9ecdbb" providerId="ADAL" clId="{CE5C3BDE-DDD2-4E73-B20F-3FFE9CBF5849}" dt="2024-05-14T15:56:09.180" v="1156"/>
          <ac:picMkLst>
            <pc:docMk/>
            <pc:sldMk cId="113109465" sldId="265"/>
            <ac:picMk id="66" creationId="{E6E58B07-42EF-430F-9C14-14B8605C6DE8}"/>
          </ac:picMkLst>
        </pc:picChg>
        <pc:picChg chg="mod">
          <ac:chgData name="Damien SELVA" userId="133961e4-541a-463d-adbe-40f16e9ecdbb" providerId="ADAL" clId="{CE5C3BDE-DDD2-4E73-B20F-3FFE9CBF5849}" dt="2024-05-14T15:56:09.180" v="1156"/>
          <ac:picMkLst>
            <pc:docMk/>
            <pc:sldMk cId="113109465" sldId="265"/>
            <ac:picMk id="67" creationId="{DF6BF4B8-1535-3D58-AA87-D0088939B7AE}"/>
          </ac:picMkLst>
        </pc:picChg>
        <pc:picChg chg="mod">
          <ac:chgData name="Damien SELVA" userId="133961e4-541a-463d-adbe-40f16e9ecdbb" providerId="ADAL" clId="{CE5C3BDE-DDD2-4E73-B20F-3FFE9CBF5849}" dt="2024-05-14T15:56:09.180" v="1156"/>
          <ac:picMkLst>
            <pc:docMk/>
            <pc:sldMk cId="113109465" sldId="265"/>
            <ac:picMk id="68" creationId="{C9C91866-6549-1C7D-B267-051591E75575}"/>
          </ac:picMkLst>
        </pc:picChg>
        <pc:picChg chg="mod">
          <ac:chgData name="Damien SELVA" userId="133961e4-541a-463d-adbe-40f16e9ecdbb" providerId="ADAL" clId="{CE5C3BDE-DDD2-4E73-B20F-3FFE9CBF5849}" dt="2024-05-14T15:56:09.180" v="1156"/>
          <ac:picMkLst>
            <pc:docMk/>
            <pc:sldMk cId="113109465" sldId="265"/>
            <ac:picMk id="69" creationId="{FD12DA26-E37F-4AE3-1690-06833D25CB9A}"/>
          </ac:picMkLst>
        </pc:picChg>
        <pc:picChg chg="mod">
          <ac:chgData name="Damien SELVA" userId="133961e4-541a-463d-adbe-40f16e9ecdbb" providerId="ADAL" clId="{CE5C3BDE-DDD2-4E73-B20F-3FFE9CBF5849}" dt="2024-05-14T15:56:09.180" v="1156"/>
          <ac:picMkLst>
            <pc:docMk/>
            <pc:sldMk cId="113109465" sldId="265"/>
            <ac:picMk id="70" creationId="{B3B8E7C6-7ED8-FF43-8A8D-863951B1BD4C}"/>
          </ac:picMkLst>
        </pc:picChg>
        <pc:picChg chg="add del mod topLvl">
          <ac:chgData name="Damien SELVA" userId="133961e4-541a-463d-adbe-40f16e9ecdbb" providerId="ADAL" clId="{CE5C3BDE-DDD2-4E73-B20F-3FFE9CBF5849}" dt="2024-05-14T16:00:28.458" v="1294" actId="478"/>
          <ac:picMkLst>
            <pc:docMk/>
            <pc:sldMk cId="113109465" sldId="265"/>
            <ac:picMk id="71" creationId="{BA120517-5947-79E4-F021-F077CA55D995}"/>
          </ac:picMkLst>
        </pc:picChg>
        <pc:picChg chg="mod">
          <ac:chgData name="Damien SELVA" userId="133961e4-541a-463d-adbe-40f16e9ecdbb" providerId="ADAL" clId="{CE5C3BDE-DDD2-4E73-B20F-3FFE9CBF5849}" dt="2024-05-14T16:00:28.848" v="1295"/>
          <ac:picMkLst>
            <pc:docMk/>
            <pc:sldMk cId="113109465" sldId="265"/>
            <ac:picMk id="78" creationId="{6A8FE334-50D6-F825-3082-6A56B8E78863}"/>
          </ac:picMkLst>
        </pc:picChg>
        <pc:picChg chg="mod">
          <ac:chgData name="Damien SELVA" userId="133961e4-541a-463d-adbe-40f16e9ecdbb" providerId="ADAL" clId="{CE5C3BDE-DDD2-4E73-B20F-3FFE9CBF5849}" dt="2024-05-14T16:00:28.848" v="1295"/>
          <ac:picMkLst>
            <pc:docMk/>
            <pc:sldMk cId="113109465" sldId="265"/>
            <ac:picMk id="79" creationId="{E57E1581-40A9-703F-BBF8-62748A90FC75}"/>
          </ac:picMkLst>
        </pc:picChg>
        <pc:picChg chg="mod">
          <ac:chgData name="Damien SELVA" userId="133961e4-541a-463d-adbe-40f16e9ecdbb" providerId="ADAL" clId="{CE5C3BDE-DDD2-4E73-B20F-3FFE9CBF5849}" dt="2024-05-14T16:00:28.848" v="1295"/>
          <ac:picMkLst>
            <pc:docMk/>
            <pc:sldMk cId="113109465" sldId="265"/>
            <ac:picMk id="80" creationId="{5366DAE6-60C7-5024-E8E7-2D1A629F8F11}"/>
          </ac:picMkLst>
        </pc:picChg>
        <pc:picChg chg="mod">
          <ac:chgData name="Damien SELVA" userId="133961e4-541a-463d-adbe-40f16e9ecdbb" providerId="ADAL" clId="{CE5C3BDE-DDD2-4E73-B20F-3FFE9CBF5849}" dt="2024-05-14T16:00:28.848" v="1295"/>
          <ac:picMkLst>
            <pc:docMk/>
            <pc:sldMk cId="113109465" sldId="265"/>
            <ac:picMk id="81" creationId="{D90D4045-6ADA-FBDC-D382-D499B9ED0CC2}"/>
          </ac:picMkLst>
        </pc:picChg>
        <pc:picChg chg="mod">
          <ac:chgData name="Damien SELVA" userId="133961e4-541a-463d-adbe-40f16e9ecdbb" providerId="ADAL" clId="{CE5C3BDE-DDD2-4E73-B20F-3FFE9CBF5849}" dt="2024-05-14T16:00:28.848" v="1295"/>
          <ac:picMkLst>
            <pc:docMk/>
            <pc:sldMk cId="113109465" sldId="265"/>
            <ac:picMk id="82" creationId="{12AB3C53-012D-49FE-CEC9-CB8454C66657}"/>
          </ac:picMkLst>
        </pc:picChg>
        <pc:picChg chg="mod">
          <ac:chgData name="Damien SELVA" userId="133961e4-541a-463d-adbe-40f16e9ecdbb" providerId="ADAL" clId="{CE5C3BDE-DDD2-4E73-B20F-3FFE9CBF5849}" dt="2024-05-14T16:00:28.848" v="1295"/>
          <ac:picMkLst>
            <pc:docMk/>
            <pc:sldMk cId="113109465" sldId="265"/>
            <ac:picMk id="83" creationId="{30F937DC-9A08-C842-4283-1476C51790C7}"/>
          </ac:picMkLst>
        </pc:picChg>
        <pc:picChg chg="mod">
          <ac:chgData name="Damien SELVA" userId="133961e4-541a-463d-adbe-40f16e9ecdbb" providerId="ADAL" clId="{CE5C3BDE-DDD2-4E73-B20F-3FFE9CBF5849}" dt="2024-05-14T16:00:28.848" v="1295"/>
          <ac:picMkLst>
            <pc:docMk/>
            <pc:sldMk cId="113109465" sldId="265"/>
            <ac:picMk id="84" creationId="{8FD86A2C-C8B5-159D-5AAA-AC7210BF1DD3}"/>
          </ac:picMkLst>
        </pc:picChg>
        <pc:picChg chg="add mod">
          <ac:chgData name="Damien SELVA" userId="133961e4-541a-463d-adbe-40f16e9ecdbb" providerId="ADAL" clId="{CE5C3BDE-DDD2-4E73-B20F-3FFE9CBF5849}" dt="2024-05-14T16:11:03.562" v="1634" actId="164"/>
          <ac:picMkLst>
            <pc:docMk/>
            <pc:sldMk cId="113109465" sldId="265"/>
            <ac:picMk id="85" creationId="{B5FE2048-DF3E-2062-8B5E-4F5DC2A5B409}"/>
          </ac:picMkLst>
        </pc:picChg>
        <pc:cxnChg chg="del mod">
          <ac:chgData name="Damien SELVA" userId="133961e4-541a-463d-adbe-40f16e9ecdbb" providerId="ADAL" clId="{CE5C3BDE-DDD2-4E73-B20F-3FFE9CBF5849}" dt="2024-05-14T15:58:25.121" v="1250" actId="478"/>
          <ac:cxnSpMkLst>
            <pc:docMk/>
            <pc:sldMk cId="113109465" sldId="265"/>
            <ac:cxnSpMk id="8" creationId="{94CD976F-C5F7-13BD-57CD-CC3A0B9B204E}"/>
          </ac:cxnSpMkLst>
        </pc:cxnChg>
        <pc:cxnChg chg="del">
          <ac:chgData name="Damien SELVA" userId="133961e4-541a-463d-adbe-40f16e9ecdbb" providerId="ADAL" clId="{CE5C3BDE-DDD2-4E73-B20F-3FFE9CBF5849}" dt="2024-05-14T15:55:52.636" v="1153" actId="478"/>
          <ac:cxnSpMkLst>
            <pc:docMk/>
            <pc:sldMk cId="113109465" sldId="265"/>
            <ac:cxnSpMk id="63" creationId="{456C7907-FDCA-627F-89E3-09864CB007CA}"/>
          </ac:cxnSpMkLst>
        </pc:cxnChg>
      </pc:sldChg>
      <pc:sldChg chg="add del">
        <pc:chgData name="Damien SELVA" userId="133961e4-541a-463d-adbe-40f16e9ecdbb" providerId="ADAL" clId="{CE5C3BDE-DDD2-4E73-B20F-3FFE9CBF5849}" dt="2024-05-14T15:47:59.651" v="861" actId="47"/>
        <pc:sldMkLst>
          <pc:docMk/>
          <pc:sldMk cId="898174760" sldId="2147470278"/>
        </pc:sldMkLst>
      </pc:sldChg>
      <pc:sldChg chg="addSp delSp modSp add del mod modAnim">
        <pc:chgData name="Damien SELVA" userId="133961e4-541a-463d-adbe-40f16e9ecdbb" providerId="ADAL" clId="{CE5C3BDE-DDD2-4E73-B20F-3FFE9CBF5849}" dt="2024-05-14T16:12:03.572" v="1646" actId="47"/>
        <pc:sldMkLst>
          <pc:docMk/>
          <pc:sldMk cId="2451542942" sldId="2147470279"/>
        </pc:sldMkLst>
        <pc:spChg chg="add mod">
          <ac:chgData name="Damien SELVA" userId="133961e4-541a-463d-adbe-40f16e9ecdbb" providerId="ADAL" clId="{CE5C3BDE-DDD2-4E73-B20F-3FFE9CBF5849}" dt="2024-05-14T15:39:44.309" v="221"/>
          <ac:spMkLst>
            <pc:docMk/>
            <pc:sldMk cId="2451542942" sldId="2147470279"/>
            <ac:spMk id="3" creationId="{3E790AD7-DBA5-56BE-2F6E-005F07800288}"/>
          </ac:spMkLst>
        </pc:spChg>
        <pc:spChg chg="mod">
          <ac:chgData name="Damien SELVA" userId="133961e4-541a-463d-adbe-40f16e9ecdbb" providerId="ADAL" clId="{CE5C3BDE-DDD2-4E73-B20F-3FFE9CBF5849}" dt="2024-05-14T15:54:32.597" v="977" actId="21"/>
          <ac:spMkLst>
            <pc:docMk/>
            <pc:sldMk cId="2451542942" sldId="2147470279"/>
            <ac:spMk id="4" creationId="{7AD8FAE3-5127-504F-EE72-F70948E48EAC}"/>
          </ac:spMkLst>
        </pc:spChg>
        <pc:spChg chg="add mod">
          <ac:chgData name="Damien SELVA" userId="133961e4-541a-463d-adbe-40f16e9ecdbb" providerId="ADAL" clId="{CE5C3BDE-DDD2-4E73-B20F-3FFE9CBF5849}" dt="2024-05-14T15:39:44.309" v="221"/>
          <ac:spMkLst>
            <pc:docMk/>
            <pc:sldMk cId="2451542942" sldId="2147470279"/>
            <ac:spMk id="5" creationId="{E208306B-26DA-0A10-2393-CBE8A50F7401}"/>
          </ac:spMkLst>
        </pc:spChg>
        <pc:spChg chg="add mod">
          <ac:chgData name="Damien SELVA" userId="133961e4-541a-463d-adbe-40f16e9ecdbb" providerId="ADAL" clId="{CE5C3BDE-DDD2-4E73-B20F-3FFE9CBF5849}" dt="2024-05-14T15:39:44.309" v="221"/>
          <ac:spMkLst>
            <pc:docMk/>
            <pc:sldMk cId="2451542942" sldId="2147470279"/>
            <ac:spMk id="7" creationId="{7E5CB24F-FFCA-8303-A8BD-1E814CBB08EE}"/>
          </ac:spMkLst>
        </pc:spChg>
        <pc:spChg chg="del">
          <ac:chgData name="Damien SELVA" userId="133961e4-541a-463d-adbe-40f16e9ecdbb" providerId="ADAL" clId="{CE5C3BDE-DDD2-4E73-B20F-3FFE9CBF5849}" dt="2024-05-14T15:38:13.914" v="5" actId="478"/>
          <ac:spMkLst>
            <pc:docMk/>
            <pc:sldMk cId="2451542942" sldId="2147470279"/>
            <ac:spMk id="9" creationId="{1E9991A3-AC77-3481-B767-839FB1ECF7E9}"/>
          </ac:spMkLst>
        </pc:spChg>
        <pc:spChg chg="del">
          <ac:chgData name="Damien SELVA" userId="133961e4-541a-463d-adbe-40f16e9ecdbb" providerId="ADAL" clId="{CE5C3BDE-DDD2-4E73-B20F-3FFE9CBF5849}" dt="2024-05-14T15:38:13.914" v="5" actId="478"/>
          <ac:spMkLst>
            <pc:docMk/>
            <pc:sldMk cId="2451542942" sldId="2147470279"/>
            <ac:spMk id="10" creationId="{8FA66C00-F220-5CA2-D204-512D143BD85E}"/>
          </ac:spMkLst>
        </pc:spChg>
        <pc:spChg chg="del">
          <ac:chgData name="Damien SELVA" userId="133961e4-541a-463d-adbe-40f16e9ecdbb" providerId="ADAL" clId="{CE5C3BDE-DDD2-4E73-B20F-3FFE9CBF5849}" dt="2024-05-14T15:38:13.914" v="5" actId="478"/>
          <ac:spMkLst>
            <pc:docMk/>
            <pc:sldMk cId="2451542942" sldId="2147470279"/>
            <ac:spMk id="11" creationId="{F68B82AD-E67F-5E12-62DF-AFB5C41B0C26}"/>
          </ac:spMkLst>
        </pc:spChg>
        <pc:spChg chg="del">
          <ac:chgData name="Damien SELVA" userId="133961e4-541a-463d-adbe-40f16e9ecdbb" providerId="ADAL" clId="{CE5C3BDE-DDD2-4E73-B20F-3FFE9CBF5849}" dt="2024-05-14T15:38:13.914" v="5" actId="478"/>
          <ac:spMkLst>
            <pc:docMk/>
            <pc:sldMk cId="2451542942" sldId="2147470279"/>
            <ac:spMk id="12" creationId="{DBD60C3A-1ABC-21E8-9A1A-03C89099D5C5}"/>
          </ac:spMkLst>
        </pc:spChg>
        <pc:spChg chg="del">
          <ac:chgData name="Damien SELVA" userId="133961e4-541a-463d-adbe-40f16e9ecdbb" providerId="ADAL" clId="{CE5C3BDE-DDD2-4E73-B20F-3FFE9CBF5849}" dt="2024-05-14T15:38:13.914" v="5" actId="478"/>
          <ac:spMkLst>
            <pc:docMk/>
            <pc:sldMk cId="2451542942" sldId="2147470279"/>
            <ac:spMk id="13" creationId="{953E7F1E-6F75-6BE6-9955-C827B48C2112}"/>
          </ac:spMkLst>
        </pc:spChg>
        <pc:spChg chg="del">
          <ac:chgData name="Damien SELVA" userId="133961e4-541a-463d-adbe-40f16e9ecdbb" providerId="ADAL" clId="{CE5C3BDE-DDD2-4E73-B20F-3FFE9CBF5849}" dt="2024-05-14T15:38:13.914" v="5" actId="478"/>
          <ac:spMkLst>
            <pc:docMk/>
            <pc:sldMk cId="2451542942" sldId="2147470279"/>
            <ac:spMk id="14" creationId="{F3ED24FF-765B-5642-28EB-2F513673035D}"/>
          </ac:spMkLst>
        </pc:spChg>
        <pc:spChg chg="del">
          <ac:chgData name="Damien SELVA" userId="133961e4-541a-463d-adbe-40f16e9ecdbb" providerId="ADAL" clId="{CE5C3BDE-DDD2-4E73-B20F-3FFE9CBF5849}" dt="2024-05-14T15:38:13.914" v="5" actId="478"/>
          <ac:spMkLst>
            <pc:docMk/>
            <pc:sldMk cId="2451542942" sldId="2147470279"/>
            <ac:spMk id="15" creationId="{4E5656BE-68E3-7177-6382-28FD04A71C9A}"/>
          </ac:spMkLst>
        </pc:spChg>
        <pc:spChg chg="del">
          <ac:chgData name="Damien SELVA" userId="133961e4-541a-463d-adbe-40f16e9ecdbb" providerId="ADAL" clId="{CE5C3BDE-DDD2-4E73-B20F-3FFE9CBF5849}" dt="2024-05-14T15:38:13.914" v="5" actId="478"/>
          <ac:spMkLst>
            <pc:docMk/>
            <pc:sldMk cId="2451542942" sldId="2147470279"/>
            <ac:spMk id="16" creationId="{141EF72D-3FD3-8FEA-E429-0EDEBBAFFBAF}"/>
          </ac:spMkLst>
        </pc:spChg>
        <pc:spChg chg="del">
          <ac:chgData name="Damien SELVA" userId="133961e4-541a-463d-adbe-40f16e9ecdbb" providerId="ADAL" clId="{CE5C3BDE-DDD2-4E73-B20F-3FFE9CBF5849}" dt="2024-05-14T15:38:13.914" v="5" actId="478"/>
          <ac:spMkLst>
            <pc:docMk/>
            <pc:sldMk cId="2451542942" sldId="2147470279"/>
            <ac:spMk id="17" creationId="{07978356-8E28-2891-B16B-6C9F5868CAC0}"/>
          </ac:spMkLst>
        </pc:spChg>
        <pc:spChg chg="del">
          <ac:chgData name="Damien SELVA" userId="133961e4-541a-463d-adbe-40f16e9ecdbb" providerId="ADAL" clId="{CE5C3BDE-DDD2-4E73-B20F-3FFE9CBF5849}" dt="2024-05-14T15:38:13.914" v="5" actId="478"/>
          <ac:spMkLst>
            <pc:docMk/>
            <pc:sldMk cId="2451542942" sldId="2147470279"/>
            <ac:spMk id="18" creationId="{1C08AAC9-ADC1-0989-5D58-4A9FFB1C9FA4}"/>
          </ac:spMkLst>
        </pc:spChg>
        <pc:spChg chg="del">
          <ac:chgData name="Damien SELVA" userId="133961e4-541a-463d-adbe-40f16e9ecdbb" providerId="ADAL" clId="{CE5C3BDE-DDD2-4E73-B20F-3FFE9CBF5849}" dt="2024-05-14T15:38:13.914" v="5" actId="478"/>
          <ac:spMkLst>
            <pc:docMk/>
            <pc:sldMk cId="2451542942" sldId="2147470279"/>
            <ac:spMk id="19" creationId="{025DB396-3435-6E1E-E4CD-C65CDCFDF665}"/>
          </ac:spMkLst>
        </pc:spChg>
        <pc:spChg chg="del">
          <ac:chgData name="Damien SELVA" userId="133961e4-541a-463d-adbe-40f16e9ecdbb" providerId="ADAL" clId="{CE5C3BDE-DDD2-4E73-B20F-3FFE9CBF5849}" dt="2024-05-14T15:38:13.914" v="5" actId="478"/>
          <ac:spMkLst>
            <pc:docMk/>
            <pc:sldMk cId="2451542942" sldId="2147470279"/>
            <ac:spMk id="20" creationId="{CC651108-99D4-FF40-7E00-66FC1991F21E}"/>
          </ac:spMkLst>
        </pc:spChg>
        <pc:spChg chg="del">
          <ac:chgData name="Damien SELVA" userId="133961e4-541a-463d-adbe-40f16e9ecdbb" providerId="ADAL" clId="{CE5C3BDE-DDD2-4E73-B20F-3FFE9CBF5849}" dt="2024-05-14T15:38:13.914" v="5" actId="478"/>
          <ac:spMkLst>
            <pc:docMk/>
            <pc:sldMk cId="2451542942" sldId="2147470279"/>
            <ac:spMk id="21" creationId="{44414C56-BFC5-6D3E-79B3-8DEBF166D15B}"/>
          </ac:spMkLst>
        </pc:spChg>
        <pc:spChg chg="del">
          <ac:chgData name="Damien SELVA" userId="133961e4-541a-463d-adbe-40f16e9ecdbb" providerId="ADAL" clId="{CE5C3BDE-DDD2-4E73-B20F-3FFE9CBF5849}" dt="2024-05-14T15:38:13.914" v="5" actId="478"/>
          <ac:spMkLst>
            <pc:docMk/>
            <pc:sldMk cId="2451542942" sldId="2147470279"/>
            <ac:spMk id="22" creationId="{BE70A0C1-D489-E7BE-4487-B87E40AE2ACC}"/>
          </ac:spMkLst>
        </pc:spChg>
        <pc:spChg chg="del">
          <ac:chgData name="Damien SELVA" userId="133961e4-541a-463d-adbe-40f16e9ecdbb" providerId="ADAL" clId="{CE5C3BDE-DDD2-4E73-B20F-3FFE9CBF5849}" dt="2024-05-14T15:38:13.914" v="5" actId="478"/>
          <ac:spMkLst>
            <pc:docMk/>
            <pc:sldMk cId="2451542942" sldId="2147470279"/>
            <ac:spMk id="23" creationId="{C2D374CD-DFEB-A67D-3373-992F320CB2EB}"/>
          </ac:spMkLst>
        </pc:spChg>
        <pc:spChg chg="del">
          <ac:chgData name="Damien SELVA" userId="133961e4-541a-463d-adbe-40f16e9ecdbb" providerId="ADAL" clId="{CE5C3BDE-DDD2-4E73-B20F-3FFE9CBF5849}" dt="2024-05-14T15:38:13.914" v="5" actId="478"/>
          <ac:spMkLst>
            <pc:docMk/>
            <pc:sldMk cId="2451542942" sldId="2147470279"/>
            <ac:spMk id="30" creationId="{B1742C35-1F97-AEDB-C465-CFB33691214B}"/>
          </ac:spMkLst>
        </pc:spChg>
        <pc:spChg chg="del">
          <ac:chgData name="Damien SELVA" userId="133961e4-541a-463d-adbe-40f16e9ecdbb" providerId="ADAL" clId="{CE5C3BDE-DDD2-4E73-B20F-3FFE9CBF5849}" dt="2024-05-14T15:38:13.914" v="5" actId="478"/>
          <ac:spMkLst>
            <pc:docMk/>
            <pc:sldMk cId="2451542942" sldId="2147470279"/>
            <ac:spMk id="31" creationId="{151A4C5E-5C3A-D701-B3D6-D8FC0B8FF69B}"/>
          </ac:spMkLst>
        </pc:spChg>
        <pc:spChg chg="del">
          <ac:chgData name="Damien SELVA" userId="133961e4-541a-463d-adbe-40f16e9ecdbb" providerId="ADAL" clId="{CE5C3BDE-DDD2-4E73-B20F-3FFE9CBF5849}" dt="2024-05-14T15:38:13.914" v="5" actId="478"/>
          <ac:spMkLst>
            <pc:docMk/>
            <pc:sldMk cId="2451542942" sldId="2147470279"/>
            <ac:spMk id="35" creationId="{041EF4DE-476A-672E-32E8-A7963022AD1D}"/>
          </ac:spMkLst>
        </pc:spChg>
        <pc:spChg chg="del">
          <ac:chgData name="Damien SELVA" userId="133961e4-541a-463d-adbe-40f16e9ecdbb" providerId="ADAL" clId="{CE5C3BDE-DDD2-4E73-B20F-3FFE9CBF5849}" dt="2024-05-14T15:38:13.914" v="5" actId="478"/>
          <ac:spMkLst>
            <pc:docMk/>
            <pc:sldMk cId="2451542942" sldId="2147470279"/>
            <ac:spMk id="45" creationId="{5E67FF78-271D-BC9B-236B-D88D8D0E49BB}"/>
          </ac:spMkLst>
        </pc:spChg>
        <pc:spChg chg="del">
          <ac:chgData name="Damien SELVA" userId="133961e4-541a-463d-adbe-40f16e9ecdbb" providerId="ADAL" clId="{CE5C3BDE-DDD2-4E73-B20F-3FFE9CBF5849}" dt="2024-05-14T15:38:13.914" v="5" actId="478"/>
          <ac:spMkLst>
            <pc:docMk/>
            <pc:sldMk cId="2451542942" sldId="2147470279"/>
            <ac:spMk id="49" creationId="{C77E4FFC-51A8-121F-06C0-9D82758996BF}"/>
          </ac:spMkLst>
        </pc:spChg>
        <pc:spChg chg="del">
          <ac:chgData name="Damien SELVA" userId="133961e4-541a-463d-adbe-40f16e9ecdbb" providerId="ADAL" clId="{CE5C3BDE-DDD2-4E73-B20F-3FFE9CBF5849}" dt="2024-05-14T15:38:13.914" v="5" actId="478"/>
          <ac:spMkLst>
            <pc:docMk/>
            <pc:sldMk cId="2451542942" sldId="2147470279"/>
            <ac:spMk id="50" creationId="{4A692B3C-4F39-64CD-54F0-64C8F44FDC82}"/>
          </ac:spMkLst>
        </pc:spChg>
        <pc:spChg chg="del">
          <ac:chgData name="Damien SELVA" userId="133961e4-541a-463d-adbe-40f16e9ecdbb" providerId="ADAL" clId="{CE5C3BDE-DDD2-4E73-B20F-3FFE9CBF5849}" dt="2024-05-14T15:38:13.914" v="5" actId="478"/>
          <ac:spMkLst>
            <pc:docMk/>
            <pc:sldMk cId="2451542942" sldId="2147470279"/>
            <ac:spMk id="55" creationId="{C442E50C-D73E-1AE0-F364-07FF30FEA244}"/>
          </ac:spMkLst>
        </pc:spChg>
        <pc:spChg chg="add mod">
          <ac:chgData name="Damien SELVA" userId="133961e4-541a-463d-adbe-40f16e9ecdbb" providerId="ADAL" clId="{CE5C3BDE-DDD2-4E73-B20F-3FFE9CBF5849}" dt="2024-05-14T15:39:44.309" v="221"/>
          <ac:spMkLst>
            <pc:docMk/>
            <pc:sldMk cId="2451542942" sldId="2147470279"/>
            <ac:spMk id="56" creationId="{BC990F8C-48AD-E67C-5BB9-20388A1F4E13}"/>
          </ac:spMkLst>
        </pc:spChg>
        <pc:spChg chg="del">
          <ac:chgData name="Damien SELVA" userId="133961e4-541a-463d-adbe-40f16e9ecdbb" providerId="ADAL" clId="{CE5C3BDE-DDD2-4E73-B20F-3FFE9CBF5849}" dt="2024-05-14T15:38:13.914" v="5" actId="478"/>
          <ac:spMkLst>
            <pc:docMk/>
            <pc:sldMk cId="2451542942" sldId="2147470279"/>
            <ac:spMk id="57" creationId="{3A2A200C-B6E9-2A0A-CBB9-ACF399C7A765}"/>
          </ac:spMkLst>
        </pc:spChg>
        <pc:spChg chg="del">
          <ac:chgData name="Damien SELVA" userId="133961e4-541a-463d-adbe-40f16e9ecdbb" providerId="ADAL" clId="{CE5C3BDE-DDD2-4E73-B20F-3FFE9CBF5849}" dt="2024-05-14T15:38:13.914" v="5" actId="478"/>
          <ac:spMkLst>
            <pc:docMk/>
            <pc:sldMk cId="2451542942" sldId="2147470279"/>
            <ac:spMk id="58" creationId="{25211D63-BADD-39EF-0D28-95BE414735A3}"/>
          </ac:spMkLst>
        </pc:spChg>
        <pc:spChg chg="add mod">
          <ac:chgData name="Damien SELVA" userId="133961e4-541a-463d-adbe-40f16e9ecdbb" providerId="ADAL" clId="{CE5C3BDE-DDD2-4E73-B20F-3FFE9CBF5849}" dt="2024-05-14T15:39:44.309" v="221"/>
          <ac:spMkLst>
            <pc:docMk/>
            <pc:sldMk cId="2451542942" sldId="2147470279"/>
            <ac:spMk id="59" creationId="{DFA448ED-B21E-4131-1680-B264F53227D2}"/>
          </ac:spMkLst>
        </pc:spChg>
        <pc:spChg chg="del">
          <ac:chgData name="Damien SELVA" userId="133961e4-541a-463d-adbe-40f16e9ecdbb" providerId="ADAL" clId="{CE5C3BDE-DDD2-4E73-B20F-3FFE9CBF5849}" dt="2024-05-14T15:38:13.914" v="5" actId="478"/>
          <ac:spMkLst>
            <pc:docMk/>
            <pc:sldMk cId="2451542942" sldId="2147470279"/>
            <ac:spMk id="60" creationId="{11642ABD-58BF-F347-7FF2-434659EC830A}"/>
          </ac:spMkLst>
        </pc:spChg>
        <pc:spChg chg="add mod">
          <ac:chgData name="Damien SELVA" userId="133961e4-541a-463d-adbe-40f16e9ecdbb" providerId="ADAL" clId="{CE5C3BDE-DDD2-4E73-B20F-3FFE9CBF5849}" dt="2024-05-14T15:39:44.309" v="221"/>
          <ac:spMkLst>
            <pc:docMk/>
            <pc:sldMk cId="2451542942" sldId="2147470279"/>
            <ac:spMk id="61" creationId="{55CB9161-323E-F1E8-F297-233879735BC3}"/>
          </ac:spMkLst>
        </pc:spChg>
        <pc:spChg chg="add mod">
          <ac:chgData name="Damien SELVA" userId="133961e4-541a-463d-adbe-40f16e9ecdbb" providerId="ADAL" clId="{CE5C3BDE-DDD2-4E73-B20F-3FFE9CBF5849}" dt="2024-05-14T15:39:44.309" v="221"/>
          <ac:spMkLst>
            <pc:docMk/>
            <pc:sldMk cId="2451542942" sldId="2147470279"/>
            <ac:spMk id="62" creationId="{E8BD848F-39F1-A191-D5E0-605E66F96A5D}"/>
          </ac:spMkLst>
        </pc:spChg>
        <pc:spChg chg="add mod">
          <ac:chgData name="Damien SELVA" userId="133961e4-541a-463d-adbe-40f16e9ecdbb" providerId="ADAL" clId="{CE5C3BDE-DDD2-4E73-B20F-3FFE9CBF5849}" dt="2024-05-14T15:39:44.309" v="221"/>
          <ac:spMkLst>
            <pc:docMk/>
            <pc:sldMk cId="2451542942" sldId="2147470279"/>
            <ac:spMk id="68" creationId="{07004CD8-B7C6-CF52-A384-ED0326375AAA}"/>
          </ac:spMkLst>
        </pc:spChg>
        <pc:spChg chg="add mod">
          <ac:chgData name="Damien SELVA" userId="133961e4-541a-463d-adbe-40f16e9ecdbb" providerId="ADAL" clId="{CE5C3BDE-DDD2-4E73-B20F-3FFE9CBF5849}" dt="2024-05-14T15:39:44.309" v="221"/>
          <ac:spMkLst>
            <pc:docMk/>
            <pc:sldMk cId="2451542942" sldId="2147470279"/>
            <ac:spMk id="69" creationId="{EB4B52DA-55E3-D633-7440-3BBF13955A2D}"/>
          </ac:spMkLst>
        </pc:spChg>
        <pc:spChg chg="add mod">
          <ac:chgData name="Damien SELVA" userId="133961e4-541a-463d-adbe-40f16e9ecdbb" providerId="ADAL" clId="{CE5C3BDE-DDD2-4E73-B20F-3FFE9CBF5849}" dt="2024-05-14T15:39:44.309" v="221"/>
          <ac:spMkLst>
            <pc:docMk/>
            <pc:sldMk cId="2451542942" sldId="2147470279"/>
            <ac:spMk id="70" creationId="{B05A4EF8-60AE-694D-1E9F-5F13EA40A5C0}"/>
          </ac:spMkLst>
        </pc:spChg>
        <pc:spChg chg="add mod">
          <ac:chgData name="Damien SELVA" userId="133961e4-541a-463d-adbe-40f16e9ecdbb" providerId="ADAL" clId="{CE5C3BDE-DDD2-4E73-B20F-3FFE9CBF5849}" dt="2024-05-14T15:39:44.309" v="221"/>
          <ac:spMkLst>
            <pc:docMk/>
            <pc:sldMk cId="2451542942" sldId="2147470279"/>
            <ac:spMk id="71" creationId="{C0B8C42E-E864-06ED-1162-CEAD2AD9C32F}"/>
          </ac:spMkLst>
        </pc:spChg>
        <pc:spChg chg="add mod">
          <ac:chgData name="Damien SELVA" userId="133961e4-541a-463d-adbe-40f16e9ecdbb" providerId="ADAL" clId="{CE5C3BDE-DDD2-4E73-B20F-3FFE9CBF5849}" dt="2024-05-14T15:39:44.309" v="221"/>
          <ac:spMkLst>
            <pc:docMk/>
            <pc:sldMk cId="2451542942" sldId="2147470279"/>
            <ac:spMk id="72" creationId="{180B221D-FED5-F7C6-2EF4-E426BACC2446}"/>
          </ac:spMkLst>
        </pc:spChg>
        <pc:spChg chg="add mod">
          <ac:chgData name="Damien SELVA" userId="133961e4-541a-463d-adbe-40f16e9ecdbb" providerId="ADAL" clId="{CE5C3BDE-DDD2-4E73-B20F-3FFE9CBF5849}" dt="2024-05-14T15:39:44.309" v="221"/>
          <ac:spMkLst>
            <pc:docMk/>
            <pc:sldMk cId="2451542942" sldId="2147470279"/>
            <ac:spMk id="73" creationId="{B1552DB2-9DBD-035D-22CF-AFA7B64783AF}"/>
          </ac:spMkLst>
        </pc:spChg>
        <pc:spChg chg="add mod">
          <ac:chgData name="Damien SELVA" userId="133961e4-541a-463d-adbe-40f16e9ecdbb" providerId="ADAL" clId="{CE5C3BDE-DDD2-4E73-B20F-3FFE9CBF5849}" dt="2024-05-14T15:39:44.309" v="221"/>
          <ac:spMkLst>
            <pc:docMk/>
            <pc:sldMk cId="2451542942" sldId="2147470279"/>
            <ac:spMk id="74" creationId="{74DCD038-37F6-935E-C4A5-4C24810BA0D5}"/>
          </ac:spMkLst>
        </pc:spChg>
        <pc:spChg chg="add mod">
          <ac:chgData name="Damien SELVA" userId="133961e4-541a-463d-adbe-40f16e9ecdbb" providerId="ADAL" clId="{CE5C3BDE-DDD2-4E73-B20F-3FFE9CBF5849}" dt="2024-05-14T15:39:44.309" v="221"/>
          <ac:spMkLst>
            <pc:docMk/>
            <pc:sldMk cId="2451542942" sldId="2147470279"/>
            <ac:spMk id="75" creationId="{7AAD6FD4-F6AD-111B-4321-07797A967620}"/>
          </ac:spMkLst>
        </pc:spChg>
        <pc:spChg chg="mod">
          <ac:chgData name="Damien SELVA" userId="133961e4-541a-463d-adbe-40f16e9ecdbb" providerId="ADAL" clId="{CE5C3BDE-DDD2-4E73-B20F-3FFE9CBF5849}" dt="2024-05-14T15:39:44.309" v="221"/>
          <ac:spMkLst>
            <pc:docMk/>
            <pc:sldMk cId="2451542942" sldId="2147470279"/>
            <ac:spMk id="77" creationId="{9CF903ED-5E0F-723A-1DA8-3DFCC0552744}"/>
          </ac:spMkLst>
        </pc:spChg>
        <pc:spChg chg="mod">
          <ac:chgData name="Damien SELVA" userId="133961e4-541a-463d-adbe-40f16e9ecdbb" providerId="ADAL" clId="{CE5C3BDE-DDD2-4E73-B20F-3FFE9CBF5849}" dt="2024-05-14T15:39:44.309" v="221"/>
          <ac:spMkLst>
            <pc:docMk/>
            <pc:sldMk cId="2451542942" sldId="2147470279"/>
            <ac:spMk id="78" creationId="{1EA91DD1-87F3-279C-9F79-AA27FB8425DC}"/>
          </ac:spMkLst>
        </pc:spChg>
        <pc:spChg chg="add mod">
          <ac:chgData name="Damien SELVA" userId="133961e4-541a-463d-adbe-40f16e9ecdbb" providerId="ADAL" clId="{CE5C3BDE-DDD2-4E73-B20F-3FFE9CBF5849}" dt="2024-05-14T15:39:44.309" v="221"/>
          <ac:spMkLst>
            <pc:docMk/>
            <pc:sldMk cId="2451542942" sldId="2147470279"/>
            <ac:spMk id="79" creationId="{35D37929-4097-B1D4-13FE-4B4BC1413D98}"/>
          </ac:spMkLst>
        </pc:spChg>
        <pc:spChg chg="add mod">
          <ac:chgData name="Damien SELVA" userId="133961e4-541a-463d-adbe-40f16e9ecdbb" providerId="ADAL" clId="{CE5C3BDE-DDD2-4E73-B20F-3FFE9CBF5849}" dt="2024-05-14T15:39:44.309" v="221"/>
          <ac:spMkLst>
            <pc:docMk/>
            <pc:sldMk cId="2451542942" sldId="2147470279"/>
            <ac:spMk id="80" creationId="{88ACBA6D-BC63-5A5E-EBAE-1BF7FD7D4655}"/>
          </ac:spMkLst>
        </pc:spChg>
        <pc:spChg chg="mod">
          <ac:chgData name="Damien SELVA" userId="133961e4-541a-463d-adbe-40f16e9ecdbb" providerId="ADAL" clId="{CE5C3BDE-DDD2-4E73-B20F-3FFE9CBF5849}" dt="2024-05-14T15:39:44.309" v="221"/>
          <ac:spMkLst>
            <pc:docMk/>
            <pc:sldMk cId="2451542942" sldId="2147470279"/>
            <ac:spMk id="82" creationId="{0E838771-1A74-EB75-08AB-F03F06FFCCA7}"/>
          </ac:spMkLst>
        </pc:spChg>
        <pc:spChg chg="mod">
          <ac:chgData name="Damien SELVA" userId="133961e4-541a-463d-adbe-40f16e9ecdbb" providerId="ADAL" clId="{CE5C3BDE-DDD2-4E73-B20F-3FFE9CBF5849}" dt="2024-05-14T15:39:44.309" v="221"/>
          <ac:spMkLst>
            <pc:docMk/>
            <pc:sldMk cId="2451542942" sldId="2147470279"/>
            <ac:spMk id="83" creationId="{1D0369E0-AF44-9E39-AD11-1483FC9EEC59}"/>
          </ac:spMkLst>
        </pc:spChg>
        <pc:spChg chg="add mod">
          <ac:chgData name="Damien SELVA" userId="133961e4-541a-463d-adbe-40f16e9ecdbb" providerId="ADAL" clId="{CE5C3BDE-DDD2-4E73-B20F-3FFE9CBF5849}" dt="2024-05-14T15:39:44.309" v="221"/>
          <ac:spMkLst>
            <pc:docMk/>
            <pc:sldMk cId="2451542942" sldId="2147470279"/>
            <ac:spMk id="84" creationId="{7286ECB0-67E4-7C5E-07D0-76D04C8B51E5}"/>
          </ac:spMkLst>
        </pc:spChg>
        <pc:spChg chg="add mod">
          <ac:chgData name="Damien SELVA" userId="133961e4-541a-463d-adbe-40f16e9ecdbb" providerId="ADAL" clId="{CE5C3BDE-DDD2-4E73-B20F-3FFE9CBF5849}" dt="2024-05-14T15:39:44.309" v="221"/>
          <ac:spMkLst>
            <pc:docMk/>
            <pc:sldMk cId="2451542942" sldId="2147470279"/>
            <ac:spMk id="85" creationId="{9A66D84F-CC06-0A34-F235-B628DD0F2568}"/>
          </ac:spMkLst>
        </pc:spChg>
        <pc:spChg chg="add mod">
          <ac:chgData name="Damien SELVA" userId="133961e4-541a-463d-adbe-40f16e9ecdbb" providerId="ADAL" clId="{CE5C3BDE-DDD2-4E73-B20F-3FFE9CBF5849}" dt="2024-05-14T15:39:44.309" v="221"/>
          <ac:spMkLst>
            <pc:docMk/>
            <pc:sldMk cId="2451542942" sldId="2147470279"/>
            <ac:spMk id="86" creationId="{D89D6B4A-7845-3FC2-08CB-F34AF0254D88}"/>
          </ac:spMkLst>
        </pc:spChg>
        <pc:spChg chg="add mod">
          <ac:chgData name="Damien SELVA" userId="133961e4-541a-463d-adbe-40f16e9ecdbb" providerId="ADAL" clId="{CE5C3BDE-DDD2-4E73-B20F-3FFE9CBF5849}" dt="2024-05-14T15:39:44.309" v="221"/>
          <ac:spMkLst>
            <pc:docMk/>
            <pc:sldMk cId="2451542942" sldId="2147470279"/>
            <ac:spMk id="87" creationId="{C730AEF3-BE57-A943-5348-16950D16A549}"/>
          </ac:spMkLst>
        </pc:spChg>
        <pc:spChg chg="add mod">
          <ac:chgData name="Damien SELVA" userId="133961e4-541a-463d-adbe-40f16e9ecdbb" providerId="ADAL" clId="{CE5C3BDE-DDD2-4E73-B20F-3FFE9CBF5849}" dt="2024-05-14T15:39:44.309" v="221"/>
          <ac:spMkLst>
            <pc:docMk/>
            <pc:sldMk cId="2451542942" sldId="2147470279"/>
            <ac:spMk id="88" creationId="{76901D46-0AAB-0141-AC87-E6E0FBA1C527}"/>
          </ac:spMkLst>
        </pc:spChg>
        <pc:spChg chg="add mod">
          <ac:chgData name="Damien SELVA" userId="133961e4-541a-463d-adbe-40f16e9ecdbb" providerId="ADAL" clId="{CE5C3BDE-DDD2-4E73-B20F-3FFE9CBF5849}" dt="2024-05-14T15:39:44.309" v="221"/>
          <ac:spMkLst>
            <pc:docMk/>
            <pc:sldMk cId="2451542942" sldId="2147470279"/>
            <ac:spMk id="89" creationId="{85828307-0CCE-FC48-457A-B86556684C2A}"/>
          </ac:spMkLst>
        </pc:spChg>
        <pc:spChg chg="add mod">
          <ac:chgData name="Damien SELVA" userId="133961e4-541a-463d-adbe-40f16e9ecdbb" providerId="ADAL" clId="{CE5C3BDE-DDD2-4E73-B20F-3FFE9CBF5849}" dt="2024-05-14T15:39:44.309" v="221"/>
          <ac:spMkLst>
            <pc:docMk/>
            <pc:sldMk cId="2451542942" sldId="2147470279"/>
            <ac:spMk id="90" creationId="{CD90F025-745C-8FD0-6CF4-6926E4CF086B}"/>
          </ac:spMkLst>
        </pc:spChg>
        <pc:spChg chg="add mod">
          <ac:chgData name="Damien SELVA" userId="133961e4-541a-463d-adbe-40f16e9ecdbb" providerId="ADAL" clId="{CE5C3BDE-DDD2-4E73-B20F-3FFE9CBF5849}" dt="2024-05-14T15:39:44.309" v="221"/>
          <ac:spMkLst>
            <pc:docMk/>
            <pc:sldMk cId="2451542942" sldId="2147470279"/>
            <ac:spMk id="91" creationId="{B5AFBB26-3CCF-CF7A-D91A-FC81FEB228C7}"/>
          </ac:spMkLst>
        </pc:spChg>
        <pc:spChg chg="add mod">
          <ac:chgData name="Damien SELVA" userId="133961e4-541a-463d-adbe-40f16e9ecdbb" providerId="ADAL" clId="{CE5C3BDE-DDD2-4E73-B20F-3FFE9CBF5849}" dt="2024-05-14T15:39:44.309" v="221"/>
          <ac:spMkLst>
            <pc:docMk/>
            <pc:sldMk cId="2451542942" sldId="2147470279"/>
            <ac:spMk id="92" creationId="{EC7D19CD-432F-944A-1194-00793422AC64}"/>
          </ac:spMkLst>
        </pc:spChg>
        <pc:spChg chg="add mod">
          <ac:chgData name="Damien SELVA" userId="133961e4-541a-463d-adbe-40f16e9ecdbb" providerId="ADAL" clId="{CE5C3BDE-DDD2-4E73-B20F-3FFE9CBF5849}" dt="2024-05-14T15:39:44.309" v="221"/>
          <ac:spMkLst>
            <pc:docMk/>
            <pc:sldMk cId="2451542942" sldId="2147470279"/>
            <ac:spMk id="93" creationId="{254C8D9A-B7FA-A167-ACA7-199DE3F4DA31}"/>
          </ac:spMkLst>
        </pc:spChg>
        <pc:spChg chg="add mod">
          <ac:chgData name="Damien SELVA" userId="133961e4-541a-463d-adbe-40f16e9ecdbb" providerId="ADAL" clId="{CE5C3BDE-DDD2-4E73-B20F-3FFE9CBF5849}" dt="2024-05-14T15:39:44.309" v="221"/>
          <ac:spMkLst>
            <pc:docMk/>
            <pc:sldMk cId="2451542942" sldId="2147470279"/>
            <ac:spMk id="94" creationId="{6C87F922-4F9D-F70A-5E98-D46DC3A2E593}"/>
          </ac:spMkLst>
        </pc:spChg>
        <pc:spChg chg="add mod">
          <ac:chgData name="Damien SELVA" userId="133961e4-541a-463d-adbe-40f16e9ecdbb" providerId="ADAL" clId="{CE5C3BDE-DDD2-4E73-B20F-3FFE9CBF5849}" dt="2024-05-14T15:39:44.309" v="221"/>
          <ac:spMkLst>
            <pc:docMk/>
            <pc:sldMk cId="2451542942" sldId="2147470279"/>
            <ac:spMk id="95" creationId="{151F750A-5D64-E776-D96E-7B1E2548C2E6}"/>
          </ac:spMkLst>
        </pc:spChg>
        <pc:spChg chg="add mod">
          <ac:chgData name="Damien SELVA" userId="133961e4-541a-463d-adbe-40f16e9ecdbb" providerId="ADAL" clId="{CE5C3BDE-DDD2-4E73-B20F-3FFE9CBF5849}" dt="2024-05-14T15:39:44.309" v="221"/>
          <ac:spMkLst>
            <pc:docMk/>
            <pc:sldMk cId="2451542942" sldId="2147470279"/>
            <ac:spMk id="96" creationId="{68E1104E-45F8-1DD0-41D3-E7AC4FB38E22}"/>
          </ac:spMkLst>
        </pc:spChg>
        <pc:spChg chg="mod">
          <ac:chgData name="Damien SELVA" userId="133961e4-541a-463d-adbe-40f16e9ecdbb" providerId="ADAL" clId="{CE5C3BDE-DDD2-4E73-B20F-3FFE9CBF5849}" dt="2024-05-14T15:39:44.309" v="221"/>
          <ac:spMkLst>
            <pc:docMk/>
            <pc:sldMk cId="2451542942" sldId="2147470279"/>
            <ac:spMk id="98" creationId="{444356D8-3F68-153A-B530-5CEE2D394263}"/>
          </ac:spMkLst>
        </pc:spChg>
        <pc:spChg chg="mod">
          <ac:chgData name="Damien SELVA" userId="133961e4-541a-463d-adbe-40f16e9ecdbb" providerId="ADAL" clId="{CE5C3BDE-DDD2-4E73-B20F-3FFE9CBF5849}" dt="2024-05-14T15:39:44.309" v="221"/>
          <ac:spMkLst>
            <pc:docMk/>
            <pc:sldMk cId="2451542942" sldId="2147470279"/>
            <ac:spMk id="99" creationId="{B32537AF-D670-E2B5-4555-C987964D7131}"/>
          </ac:spMkLst>
        </pc:spChg>
        <pc:spChg chg="mod">
          <ac:chgData name="Damien SELVA" userId="133961e4-541a-463d-adbe-40f16e9ecdbb" providerId="ADAL" clId="{CE5C3BDE-DDD2-4E73-B20F-3FFE9CBF5849}" dt="2024-05-14T15:39:44.309" v="221"/>
          <ac:spMkLst>
            <pc:docMk/>
            <pc:sldMk cId="2451542942" sldId="2147470279"/>
            <ac:spMk id="101" creationId="{CA33A191-9246-79AD-D1C1-0AB2230B344E}"/>
          </ac:spMkLst>
        </pc:spChg>
        <pc:spChg chg="mod">
          <ac:chgData name="Damien SELVA" userId="133961e4-541a-463d-adbe-40f16e9ecdbb" providerId="ADAL" clId="{CE5C3BDE-DDD2-4E73-B20F-3FFE9CBF5849}" dt="2024-05-14T15:39:44.309" v="221"/>
          <ac:spMkLst>
            <pc:docMk/>
            <pc:sldMk cId="2451542942" sldId="2147470279"/>
            <ac:spMk id="102" creationId="{603A814A-A919-CCB3-B137-EFFEF70ED9E3}"/>
          </ac:spMkLst>
        </pc:spChg>
        <pc:spChg chg="mod">
          <ac:chgData name="Damien SELVA" userId="133961e4-541a-463d-adbe-40f16e9ecdbb" providerId="ADAL" clId="{CE5C3BDE-DDD2-4E73-B20F-3FFE9CBF5849}" dt="2024-05-14T15:39:44.309" v="221"/>
          <ac:spMkLst>
            <pc:docMk/>
            <pc:sldMk cId="2451542942" sldId="2147470279"/>
            <ac:spMk id="104" creationId="{AC3380C8-1CCE-A806-AEED-258D3612DC0B}"/>
          </ac:spMkLst>
        </pc:spChg>
        <pc:spChg chg="mod">
          <ac:chgData name="Damien SELVA" userId="133961e4-541a-463d-adbe-40f16e9ecdbb" providerId="ADAL" clId="{CE5C3BDE-DDD2-4E73-B20F-3FFE9CBF5849}" dt="2024-05-14T15:39:44.309" v="221"/>
          <ac:spMkLst>
            <pc:docMk/>
            <pc:sldMk cId="2451542942" sldId="2147470279"/>
            <ac:spMk id="105" creationId="{8F9664AF-7159-394A-8248-B71919B01B50}"/>
          </ac:spMkLst>
        </pc:spChg>
        <pc:spChg chg="mod">
          <ac:chgData name="Damien SELVA" userId="133961e4-541a-463d-adbe-40f16e9ecdbb" providerId="ADAL" clId="{CE5C3BDE-DDD2-4E73-B20F-3FFE9CBF5849}" dt="2024-05-14T15:39:44.309" v="221"/>
          <ac:spMkLst>
            <pc:docMk/>
            <pc:sldMk cId="2451542942" sldId="2147470279"/>
            <ac:spMk id="106" creationId="{7BFA4DDB-926D-C763-29C0-695EAFCDEC38}"/>
          </ac:spMkLst>
        </pc:spChg>
        <pc:spChg chg="add mod">
          <ac:chgData name="Damien SELVA" userId="133961e4-541a-463d-adbe-40f16e9ecdbb" providerId="ADAL" clId="{CE5C3BDE-DDD2-4E73-B20F-3FFE9CBF5849}" dt="2024-05-14T15:39:44.309" v="221"/>
          <ac:spMkLst>
            <pc:docMk/>
            <pc:sldMk cId="2451542942" sldId="2147470279"/>
            <ac:spMk id="107" creationId="{E775BB52-20FA-E787-766B-A1A3A4A4CC30}"/>
          </ac:spMkLst>
        </pc:spChg>
        <pc:spChg chg="add mod">
          <ac:chgData name="Damien SELVA" userId="133961e4-541a-463d-adbe-40f16e9ecdbb" providerId="ADAL" clId="{CE5C3BDE-DDD2-4E73-B20F-3FFE9CBF5849}" dt="2024-05-14T15:39:44.309" v="221"/>
          <ac:spMkLst>
            <pc:docMk/>
            <pc:sldMk cId="2451542942" sldId="2147470279"/>
            <ac:spMk id="109" creationId="{EE8F9C4B-3503-E112-0D37-FDB15741F699}"/>
          </ac:spMkLst>
        </pc:spChg>
        <pc:spChg chg="mod">
          <ac:chgData name="Damien SELVA" userId="133961e4-541a-463d-adbe-40f16e9ecdbb" providerId="ADAL" clId="{CE5C3BDE-DDD2-4E73-B20F-3FFE9CBF5849}" dt="2024-05-14T15:39:44.309" v="221"/>
          <ac:spMkLst>
            <pc:docMk/>
            <pc:sldMk cId="2451542942" sldId="2147470279"/>
            <ac:spMk id="112" creationId="{92F9CFEC-0FDB-73FD-F446-27F9DE93C468}"/>
          </ac:spMkLst>
        </pc:spChg>
        <pc:spChg chg="mod">
          <ac:chgData name="Damien SELVA" userId="133961e4-541a-463d-adbe-40f16e9ecdbb" providerId="ADAL" clId="{CE5C3BDE-DDD2-4E73-B20F-3FFE9CBF5849}" dt="2024-05-14T15:39:44.309" v="221"/>
          <ac:spMkLst>
            <pc:docMk/>
            <pc:sldMk cId="2451542942" sldId="2147470279"/>
            <ac:spMk id="113" creationId="{193B6282-C2E3-D793-FA67-5C8D5586A7DB}"/>
          </ac:spMkLst>
        </pc:spChg>
        <pc:spChg chg="mod">
          <ac:chgData name="Damien SELVA" userId="133961e4-541a-463d-adbe-40f16e9ecdbb" providerId="ADAL" clId="{CE5C3BDE-DDD2-4E73-B20F-3FFE9CBF5849}" dt="2024-05-14T15:39:44.309" v="221"/>
          <ac:spMkLst>
            <pc:docMk/>
            <pc:sldMk cId="2451542942" sldId="2147470279"/>
            <ac:spMk id="114" creationId="{09252E25-06FC-B8BF-3C81-DEA1C71E035D}"/>
          </ac:spMkLst>
        </pc:spChg>
        <pc:spChg chg="mod">
          <ac:chgData name="Damien SELVA" userId="133961e4-541a-463d-adbe-40f16e9ecdbb" providerId="ADAL" clId="{CE5C3BDE-DDD2-4E73-B20F-3FFE9CBF5849}" dt="2024-05-14T15:39:44.309" v="221"/>
          <ac:spMkLst>
            <pc:docMk/>
            <pc:sldMk cId="2451542942" sldId="2147470279"/>
            <ac:spMk id="115" creationId="{6E545A32-7E68-4831-17C3-A073E5ADEA65}"/>
          </ac:spMkLst>
        </pc:spChg>
        <pc:spChg chg="mod">
          <ac:chgData name="Damien SELVA" userId="133961e4-541a-463d-adbe-40f16e9ecdbb" providerId="ADAL" clId="{CE5C3BDE-DDD2-4E73-B20F-3FFE9CBF5849}" dt="2024-05-14T15:39:44.309" v="221"/>
          <ac:spMkLst>
            <pc:docMk/>
            <pc:sldMk cId="2451542942" sldId="2147470279"/>
            <ac:spMk id="116" creationId="{BA3DCB54-6C13-10A5-42D0-4A2BFE7FEB1B}"/>
          </ac:spMkLst>
        </pc:spChg>
        <pc:spChg chg="add mod">
          <ac:chgData name="Damien SELVA" userId="133961e4-541a-463d-adbe-40f16e9ecdbb" providerId="ADAL" clId="{CE5C3BDE-DDD2-4E73-B20F-3FFE9CBF5849}" dt="2024-05-14T15:39:44.309" v="221"/>
          <ac:spMkLst>
            <pc:docMk/>
            <pc:sldMk cId="2451542942" sldId="2147470279"/>
            <ac:spMk id="122" creationId="{040D6C9A-63B5-D2E9-6C6D-A1B29541B96E}"/>
          </ac:spMkLst>
        </pc:spChg>
        <pc:spChg chg="add mod">
          <ac:chgData name="Damien SELVA" userId="133961e4-541a-463d-adbe-40f16e9ecdbb" providerId="ADAL" clId="{CE5C3BDE-DDD2-4E73-B20F-3FFE9CBF5849}" dt="2024-05-14T15:39:44.309" v="221"/>
          <ac:spMkLst>
            <pc:docMk/>
            <pc:sldMk cId="2451542942" sldId="2147470279"/>
            <ac:spMk id="123" creationId="{420EBE3C-748D-DF14-E65B-341369CC21FE}"/>
          </ac:spMkLst>
        </pc:spChg>
        <pc:spChg chg="add mod">
          <ac:chgData name="Damien SELVA" userId="133961e4-541a-463d-adbe-40f16e9ecdbb" providerId="ADAL" clId="{CE5C3BDE-DDD2-4E73-B20F-3FFE9CBF5849}" dt="2024-05-14T15:39:44.309" v="221"/>
          <ac:spMkLst>
            <pc:docMk/>
            <pc:sldMk cId="2451542942" sldId="2147470279"/>
            <ac:spMk id="124" creationId="{106A703E-87DB-8653-24B7-64E299755C42}"/>
          </ac:spMkLst>
        </pc:spChg>
        <pc:spChg chg="add mod">
          <ac:chgData name="Damien SELVA" userId="133961e4-541a-463d-adbe-40f16e9ecdbb" providerId="ADAL" clId="{CE5C3BDE-DDD2-4E73-B20F-3FFE9CBF5849}" dt="2024-05-14T15:39:44.309" v="221"/>
          <ac:spMkLst>
            <pc:docMk/>
            <pc:sldMk cId="2451542942" sldId="2147470279"/>
            <ac:spMk id="125" creationId="{96181808-54A4-1D05-9CF2-9CA38CA50FC6}"/>
          </ac:spMkLst>
        </pc:spChg>
        <pc:spChg chg="add mod">
          <ac:chgData name="Damien SELVA" userId="133961e4-541a-463d-adbe-40f16e9ecdbb" providerId="ADAL" clId="{CE5C3BDE-DDD2-4E73-B20F-3FFE9CBF5849}" dt="2024-05-14T15:39:44.309" v="221"/>
          <ac:spMkLst>
            <pc:docMk/>
            <pc:sldMk cId="2451542942" sldId="2147470279"/>
            <ac:spMk id="127" creationId="{5DDC9CBA-8AA6-1486-B5C3-E1B55E2B374C}"/>
          </ac:spMkLst>
        </pc:spChg>
        <pc:spChg chg="add mod">
          <ac:chgData name="Damien SELVA" userId="133961e4-541a-463d-adbe-40f16e9ecdbb" providerId="ADAL" clId="{CE5C3BDE-DDD2-4E73-B20F-3FFE9CBF5849}" dt="2024-05-14T15:39:44.309" v="221"/>
          <ac:spMkLst>
            <pc:docMk/>
            <pc:sldMk cId="2451542942" sldId="2147470279"/>
            <ac:spMk id="128" creationId="{C38BB8DA-0D05-EBD3-BC47-62A8883FA5A0}"/>
          </ac:spMkLst>
        </pc:spChg>
        <pc:spChg chg="add mod">
          <ac:chgData name="Damien SELVA" userId="133961e4-541a-463d-adbe-40f16e9ecdbb" providerId="ADAL" clId="{CE5C3BDE-DDD2-4E73-B20F-3FFE9CBF5849}" dt="2024-05-14T15:39:44.309" v="221"/>
          <ac:spMkLst>
            <pc:docMk/>
            <pc:sldMk cId="2451542942" sldId="2147470279"/>
            <ac:spMk id="129" creationId="{5B2BB09A-C0D8-DBE1-5FBE-CEE0E098D35B}"/>
          </ac:spMkLst>
        </pc:spChg>
        <pc:spChg chg="add mod">
          <ac:chgData name="Damien SELVA" userId="133961e4-541a-463d-adbe-40f16e9ecdbb" providerId="ADAL" clId="{CE5C3BDE-DDD2-4E73-B20F-3FFE9CBF5849}" dt="2024-05-14T15:39:44.309" v="221"/>
          <ac:spMkLst>
            <pc:docMk/>
            <pc:sldMk cId="2451542942" sldId="2147470279"/>
            <ac:spMk id="130" creationId="{B1A813BF-3E50-7944-497A-3FF33451D88D}"/>
          </ac:spMkLst>
        </pc:spChg>
        <pc:spChg chg="add mod">
          <ac:chgData name="Damien SELVA" userId="133961e4-541a-463d-adbe-40f16e9ecdbb" providerId="ADAL" clId="{CE5C3BDE-DDD2-4E73-B20F-3FFE9CBF5849}" dt="2024-05-14T15:39:44.309" v="221"/>
          <ac:spMkLst>
            <pc:docMk/>
            <pc:sldMk cId="2451542942" sldId="2147470279"/>
            <ac:spMk id="132" creationId="{88D8443E-A18E-49C6-8F52-11182FF87C2F}"/>
          </ac:spMkLst>
        </pc:spChg>
        <pc:spChg chg="add mod">
          <ac:chgData name="Damien SELVA" userId="133961e4-541a-463d-adbe-40f16e9ecdbb" providerId="ADAL" clId="{CE5C3BDE-DDD2-4E73-B20F-3FFE9CBF5849}" dt="2024-05-14T15:39:44.309" v="221"/>
          <ac:spMkLst>
            <pc:docMk/>
            <pc:sldMk cId="2451542942" sldId="2147470279"/>
            <ac:spMk id="133" creationId="{46C4FF32-0016-F2D1-8FEE-B0CD2DCE3A54}"/>
          </ac:spMkLst>
        </pc:spChg>
        <pc:spChg chg="add mod">
          <ac:chgData name="Damien SELVA" userId="133961e4-541a-463d-adbe-40f16e9ecdbb" providerId="ADAL" clId="{CE5C3BDE-DDD2-4E73-B20F-3FFE9CBF5849}" dt="2024-05-14T15:39:44.309" v="221"/>
          <ac:spMkLst>
            <pc:docMk/>
            <pc:sldMk cId="2451542942" sldId="2147470279"/>
            <ac:spMk id="134" creationId="{AAB20B74-8DC3-7520-A455-6098430EB926}"/>
          </ac:spMkLst>
        </pc:spChg>
        <pc:spChg chg="add mod">
          <ac:chgData name="Damien SELVA" userId="133961e4-541a-463d-adbe-40f16e9ecdbb" providerId="ADAL" clId="{CE5C3BDE-DDD2-4E73-B20F-3FFE9CBF5849}" dt="2024-05-14T15:39:44.309" v="221"/>
          <ac:spMkLst>
            <pc:docMk/>
            <pc:sldMk cId="2451542942" sldId="2147470279"/>
            <ac:spMk id="135" creationId="{E9DE4ACC-CB38-C730-7C34-E4DA98A5A27F}"/>
          </ac:spMkLst>
        </pc:spChg>
        <pc:spChg chg="add mod">
          <ac:chgData name="Damien SELVA" userId="133961e4-541a-463d-adbe-40f16e9ecdbb" providerId="ADAL" clId="{CE5C3BDE-DDD2-4E73-B20F-3FFE9CBF5849}" dt="2024-05-14T15:39:44.309" v="221"/>
          <ac:spMkLst>
            <pc:docMk/>
            <pc:sldMk cId="2451542942" sldId="2147470279"/>
            <ac:spMk id="136" creationId="{EACB5C9D-666E-B068-DCDF-BABAE933C7AF}"/>
          </ac:spMkLst>
        </pc:spChg>
        <pc:spChg chg="add mod">
          <ac:chgData name="Damien SELVA" userId="133961e4-541a-463d-adbe-40f16e9ecdbb" providerId="ADAL" clId="{CE5C3BDE-DDD2-4E73-B20F-3FFE9CBF5849}" dt="2024-05-14T15:39:44.309" v="221"/>
          <ac:spMkLst>
            <pc:docMk/>
            <pc:sldMk cId="2451542942" sldId="2147470279"/>
            <ac:spMk id="137" creationId="{2EF2CA96-CB78-0D35-7988-07FB295CED74}"/>
          </ac:spMkLst>
        </pc:spChg>
        <pc:spChg chg="add mod">
          <ac:chgData name="Damien SELVA" userId="133961e4-541a-463d-adbe-40f16e9ecdbb" providerId="ADAL" clId="{CE5C3BDE-DDD2-4E73-B20F-3FFE9CBF5849}" dt="2024-05-14T15:39:44.309" v="221"/>
          <ac:spMkLst>
            <pc:docMk/>
            <pc:sldMk cId="2451542942" sldId="2147470279"/>
            <ac:spMk id="138" creationId="{A58ABE96-77AC-950E-BAD7-66A89DA87094}"/>
          </ac:spMkLst>
        </pc:spChg>
        <pc:spChg chg="add mod">
          <ac:chgData name="Damien SELVA" userId="133961e4-541a-463d-adbe-40f16e9ecdbb" providerId="ADAL" clId="{CE5C3BDE-DDD2-4E73-B20F-3FFE9CBF5849}" dt="2024-05-14T15:39:45.967" v="222"/>
          <ac:spMkLst>
            <pc:docMk/>
            <pc:sldMk cId="2451542942" sldId="2147470279"/>
            <ac:spMk id="140" creationId="{E215A4C2-EA8C-4F05-F56E-A03A3224370B}"/>
          </ac:spMkLst>
        </pc:spChg>
        <pc:spChg chg="add mod">
          <ac:chgData name="Damien SELVA" userId="133961e4-541a-463d-adbe-40f16e9ecdbb" providerId="ADAL" clId="{CE5C3BDE-DDD2-4E73-B20F-3FFE9CBF5849}" dt="2024-05-14T15:39:45.967" v="222"/>
          <ac:spMkLst>
            <pc:docMk/>
            <pc:sldMk cId="2451542942" sldId="2147470279"/>
            <ac:spMk id="141" creationId="{F5268973-8FCD-F5BF-5A1B-FFC3FC5D6353}"/>
          </ac:spMkLst>
        </pc:spChg>
        <pc:spChg chg="add mod">
          <ac:chgData name="Damien SELVA" userId="133961e4-541a-463d-adbe-40f16e9ecdbb" providerId="ADAL" clId="{CE5C3BDE-DDD2-4E73-B20F-3FFE9CBF5849}" dt="2024-05-14T15:39:45.967" v="222"/>
          <ac:spMkLst>
            <pc:docMk/>
            <pc:sldMk cId="2451542942" sldId="2147470279"/>
            <ac:spMk id="143" creationId="{7113D744-B9C0-3DA0-B612-5546437F95EF}"/>
          </ac:spMkLst>
        </pc:spChg>
        <pc:spChg chg="add mod">
          <ac:chgData name="Damien SELVA" userId="133961e4-541a-463d-adbe-40f16e9ecdbb" providerId="ADAL" clId="{CE5C3BDE-DDD2-4E73-B20F-3FFE9CBF5849}" dt="2024-05-14T15:39:45.967" v="222"/>
          <ac:spMkLst>
            <pc:docMk/>
            <pc:sldMk cId="2451542942" sldId="2147470279"/>
            <ac:spMk id="145" creationId="{9505F473-1149-238F-0A67-FCC325E9BB57}"/>
          </ac:spMkLst>
        </pc:spChg>
        <pc:spChg chg="add mod">
          <ac:chgData name="Damien SELVA" userId="133961e4-541a-463d-adbe-40f16e9ecdbb" providerId="ADAL" clId="{CE5C3BDE-DDD2-4E73-B20F-3FFE9CBF5849}" dt="2024-05-14T15:45:50.742" v="680" actId="14100"/>
          <ac:spMkLst>
            <pc:docMk/>
            <pc:sldMk cId="2451542942" sldId="2147470279"/>
            <ac:spMk id="146" creationId="{BCAF0340-7CEA-88F0-EE03-F2877D6DA76C}"/>
          </ac:spMkLst>
        </pc:spChg>
        <pc:spChg chg="add mod">
          <ac:chgData name="Damien SELVA" userId="133961e4-541a-463d-adbe-40f16e9ecdbb" providerId="ADAL" clId="{CE5C3BDE-DDD2-4E73-B20F-3FFE9CBF5849}" dt="2024-05-14T15:39:45.967" v="222"/>
          <ac:spMkLst>
            <pc:docMk/>
            <pc:sldMk cId="2451542942" sldId="2147470279"/>
            <ac:spMk id="147" creationId="{FB13AF7B-9A5B-2B7A-B379-B9871C7F1A5B}"/>
          </ac:spMkLst>
        </pc:spChg>
        <pc:spChg chg="add mod">
          <ac:chgData name="Damien SELVA" userId="133961e4-541a-463d-adbe-40f16e9ecdbb" providerId="ADAL" clId="{CE5C3BDE-DDD2-4E73-B20F-3FFE9CBF5849}" dt="2024-05-14T15:46:23.499" v="716" actId="1076"/>
          <ac:spMkLst>
            <pc:docMk/>
            <pc:sldMk cId="2451542942" sldId="2147470279"/>
            <ac:spMk id="148" creationId="{A78DBB11-13B4-8A70-DA67-8B8F3F4D1B47}"/>
          </ac:spMkLst>
        </pc:spChg>
        <pc:spChg chg="add mod">
          <ac:chgData name="Damien SELVA" userId="133961e4-541a-463d-adbe-40f16e9ecdbb" providerId="ADAL" clId="{CE5C3BDE-DDD2-4E73-B20F-3FFE9CBF5849}" dt="2024-05-14T15:46:23.499" v="716" actId="1076"/>
          <ac:spMkLst>
            <pc:docMk/>
            <pc:sldMk cId="2451542942" sldId="2147470279"/>
            <ac:spMk id="152" creationId="{36767F87-C7E5-CCD9-40B1-74B28DECC555}"/>
          </ac:spMkLst>
        </pc:spChg>
        <pc:spChg chg="add mod">
          <ac:chgData name="Damien SELVA" userId="133961e4-541a-463d-adbe-40f16e9ecdbb" providerId="ADAL" clId="{CE5C3BDE-DDD2-4E73-B20F-3FFE9CBF5849}" dt="2024-05-14T15:46:23.499" v="716" actId="1076"/>
          <ac:spMkLst>
            <pc:docMk/>
            <pc:sldMk cId="2451542942" sldId="2147470279"/>
            <ac:spMk id="153" creationId="{728099E4-36C5-2DF1-CB7C-10633B8A1B5D}"/>
          </ac:spMkLst>
        </pc:spChg>
        <pc:spChg chg="add mod">
          <ac:chgData name="Damien SELVA" userId="133961e4-541a-463d-adbe-40f16e9ecdbb" providerId="ADAL" clId="{CE5C3BDE-DDD2-4E73-B20F-3FFE9CBF5849}" dt="2024-05-14T15:46:23.499" v="716" actId="1076"/>
          <ac:spMkLst>
            <pc:docMk/>
            <pc:sldMk cId="2451542942" sldId="2147470279"/>
            <ac:spMk id="154" creationId="{B973412D-0B07-48D3-AEFD-CABAF911C305}"/>
          </ac:spMkLst>
        </pc:spChg>
        <pc:spChg chg="add mod">
          <ac:chgData name="Damien SELVA" userId="133961e4-541a-463d-adbe-40f16e9ecdbb" providerId="ADAL" clId="{CE5C3BDE-DDD2-4E73-B20F-3FFE9CBF5849}" dt="2024-05-14T15:46:23.499" v="716" actId="1076"/>
          <ac:spMkLst>
            <pc:docMk/>
            <pc:sldMk cId="2451542942" sldId="2147470279"/>
            <ac:spMk id="155" creationId="{4A51C842-A7EE-23E8-76DF-54DE1EC89090}"/>
          </ac:spMkLst>
        </pc:spChg>
        <pc:spChg chg="add mod">
          <ac:chgData name="Damien SELVA" userId="133961e4-541a-463d-adbe-40f16e9ecdbb" providerId="ADAL" clId="{CE5C3BDE-DDD2-4E73-B20F-3FFE9CBF5849}" dt="2024-05-14T15:46:35.141" v="718" actId="1076"/>
          <ac:spMkLst>
            <pc:docMk/>
            <pc:sldMk cId="2451542942" sldId="2147470279"/>
            <ac:spMk id="156" creationId="{31C307BF-D052-B27B-B379-BC8C16C2A775}"/>
          </ac:spMkLst>
        </pc:spChg>
        <pc:spChg chg="add mod">
          <ac:chgData name="Damien SELVA" userId="133961e4-541a-463d-adbe-40f16e9ecdbb" providerId="ADAL" clId="{CE5C3BDE-DDD2-4E73-B20F-3FFE9CBF5849}" dt="2024-05-14T15:46:23.499" v="716" actId="1076"/>
          <ac:spMkLst>
            <pc:docMk/>
            <pc:sldMk cId="2451542942" sldId="2147470279"/>
            <ac:spMk id="157" creationId="{A4E1C0F1-C719-55D3-4AA8-95CF1FE397FE}"/>
          </ac:spMkLst>
        </pc:spChg>
        <pc:spChg chg="add mod">
          <ac:chgData name="Damien SELVA" userId="133961e4-541a-463d-adbe-40f16e9ecdbb" providerId="ADAL" clId="{CE5C3BDE-DDD2-4E73-B20F-3FFE9CBF5849}" dt="2024-05-14T15:46:23.499" v="716" actId="1076"/>
          <ac:spMkLst>
            <pc:docMk/>
            <pc:sldMk cId="2451542942" sldId="2147470279"/>
            <ac:spMk id="158" creationId="{3AEF0556-5D38-90AF-3898-554A89CCA6B3}"/>
          </ac:spMkLst>
        </pc:spChg>
        <pc:spChg chg="add mod">
          <ac:chgData name="Damien SELVA" userId="133961e4-541a-463d-adbe-40f16e9ecdbb" providerId="ADAL" clId="{CE5C3BDE-DDD2-4E73-B20F-3FFE9CBF5849}" dt="2024-05-14T15:43:38.757" v="501" actId="1076"/>
          <ac:spMkLst>
            <pc:docMk/>
            <pc:sldMk cId="2451542942" sldId="2147470279"/>
            <ac:spMk id="159" creationId="{0CD56BCA-8FB0-A4D7-D9EF-5F3C00E73E04}"/>
          </ac:spMkLst>
        </pc:spChg>
        <pc:spChg chg="mod">
          <ac:chgData name="Damien SELVA" userId="133961e4-541a-463d-adbe-40f16e9ecdbb" providerId="ADAL" clId="{CE5C3BDE-DDD2-4E73-B20F-3FFE9CBF5849}" dt="2024-05-14T15:39:45.967" v="222"/>
          <ac:spMkLst>
            <pc:docMk/>
            <pc:sldMk cId="2451542942" sldId="2147470279"/>
            <ac:spMk id="161" creationId="{E658CC50-C578-C80C-0626-81AF3DD9E1C0}"/>
          </ac:spMkLst>
        </pc:spChg>
        <pc:spChg chg="mod">
          <ac:chgData name="Damien SELVA" userId="133961e4-541a-463d-adbe-40f16e9ecdbb" providerId="ADAL" clId="{CE5C3BDE-DDD2-4E73-B20F-3FFE9CBF5849}" dt="2024-05-14T15:39:45.967" v="222"/>
          <ac:spMkLst>
            <pc:docMk/>
            <pc:sldMk cId="2451542942" sldId="2147470279"/>
            <ac:spMk id="162" creationId="{7E65F31E-3A6E-D18C-083F-C865BFD6CB65}"/>
          </ac:spMkLst>
        </pc:spChg>
        <pc:spChg chg="add mod">
          <ac:chgData name="Damien SELVA" userId="133961e4-541a-463d-adbe-40f16e9ecdbb" providerId="ADAL" clId="{CE5C3BDE-DDD2-4E73-B20F-3FFE9CBF5849}" dt="2024-05-14T15:46:23.499" v="716" actId="1076"/>
          <ac:spMkLst>
            <pc:docMk/>
            <pc:sldMk cId="2451542942" sldId="2147470279"/>
            <ac:spMk id="163" creationId="{29B0A46E-E2EC-52F9-2043-E42CF1947306}"/>
          </ac:spMkLst>
        </pc:spChg>
        <pc:spChg chg="add mod">
          <ac:chgData name="Damien SELVA" userId="133961e4-541a-463d-adbe-40f16e9ecdbb" providerId="ADAL" clId="{CE5C3BDE-DDD2-4E73-B20F-3FFE9CBF5849}" dt="2024-05-14T15:46:23.499" v="716" actId="1076"/>
          <ac:spMkLst>
            <pc:docMk/>
            <pc:sldMk cId="2451542942" sldId="2147470279"/>
            <ac:spMk id="164" creationId="{8DB9A51A-49A2-42F0-E949-ECECAE809C25}"/>
          </ac:spMkLst>
        </pc:spChg>
        <pc:spChg chg="mod">
          <ac:chgData name="Damien SELVA" userId="133961e4-541a-463d-adbe-40f16e9ecdbb" providerId="ADAL" clId="{CE5C3BDE-DDD2-4E73-B20F-3FFE9CBF5849}" dt="2024-05-14T15:39:45.967" v="222"/>
          <ac:spMkLst>
            <pc:docMk/>
            <pc:sldMk cId="2451542942" sldId="2147470279"/>
            <ac:spMk id="166" creationId="{80ACBED0-2641-D2B6-DB75-CBC8F35D96F0}"/>
          </ac:spMkLst>
        </pc:spChg>
        <pc:spChg chg="mod">
          <ac:chgData name="Damien SELVA" userId="133961e4-541a-463d-adbe-40f16e9ecdbb" providerId="ADAL" clId="{CE5C3BDE-DDD2-4E73-B20F-3FFE9CBF5849}" dt="2024-05-14T15:39:45.967" v="222"/>
          <ac:spMkLst>
            <pc:docMk/>
            <pc:sldMk cId="2451542942" sldId="2147470279"/>
            <ac:spMk id="167" creationId="{FC9FE7D6-85EE-BC68-6E1F-7CE50DBF53AC}"/>
          </ac:spMkLst>
        </pc:spChg>
        <pc:spChg chg="add mod">
          <ac:chgData name="Damien SELVA" userId="133961e4-541a-463d-adbe-40f16e9ecdbb" providerId="ADAL" clId="{CE5C3BDE-DDD2-4E73-B20F-3FFE9CBF5849}" dt="2024-05-14T15:46:23.499" v="716" actId="1076"/>
          <ac:spMkLst>
            <pc:docMk/>
            <pc:sldMk cId="2451542942" sldId="2147470279"/>
            <ac:spMk id="168" creationId="{75C630B9-9455-CF71-43E6-22B19E8B4106}"/>
          </ac:spMkLst>
        </pc:spChg>
        <pc:spChg chg="add mod">
          <ac:chgData name="Damien SELVA" userId="133961e4-541a-463d-adbe-40f16e9ecdbb" providerId="ADAL" clId="{CE5C3BDE-DDD2-4E73-B20F-3FFE9CBF5849}" dt="2024-05-14T15:47:49.654" v="860" actId="20577"/>
          <ac:spMkLst>
            <pc:docMk/>
            <pc:sldMk cId="2451542942" sldId="2147470279"/>
            <ac:spMk id="169" creationId="{C166978E-F12B-EAF2-882A-0C1FB147C163}"/>
          </ac:spMkLst>
        </pc:spChg>
        <pc:spChg chg="add mod">
          <ac:chgData name="Damien SELVA" userId="133961e4-541a-463d-adbe-40f16e9ecdbb" providerId="ADAL" clId="{CE5C3BDE-DDD2-4E73-B20F-3FFE9CBF5849}" dt="2024-05-14T15:46:23.499" v="716" actId="1076"/>
          <ac:spMkLst>
            <pc:docMk/>
            <pc:sldMk cId="2451542942" sldId="2147470279"/>
            <ac:spMk id="170" creationId="{DCF03C45-7813-A70C-B250-357D3FE49E40}"/>
          </ac:spMkLst>
        </pc:spChg>
        <pc:spChg chg="add mod">
          <ac:chgData name="Damien SELVA" userId="133961e4-541a-463d-adbe-40f16e9ecdbb" providerId="ADAL" clId="{CE5C3BDE-DDD2-4E73-B20F-3FFE9CBF5849}" dt="2024-05-14T15:46:23.499" v="716" actId="1076"/>
          <ac:spMkLst>
            <pc:docMk/>
            <pc:sldMk cId="2451542942" sldId="2147470279"/>
            <ac:spMk id="171" creationId="{E9D4038B-B00E-C064-BABB-CCE5C6111E9C}"/>
          </ac:spMkLst>
        </pc:spChg>
        <pc:spChg chg="add mod">
          <ac:chgData name="Damien SELVA" userId="133961e4-541a-463d-adbe-40f16e9ecdbb" providerId="ADAL" clId="{CE5C3BDE-DDD2-4E73-B20F-3FFE9CBF5849}" dt="2024-05-14T15:46:23.499" v="716" actId="1076"/>
          <ac:spMkLst>
            <pc:docMk/>
            <pc:sldMk cId="2451542942" sldId="2147470279"/>
            <ac:spMk id="172" creationId="{12E8ECB0-6299-7D5B-B252-88B4FFEA1B99}"/>
          </ac:spMkLst>
        </pc:spChg>
        <pc:spChg chg="add mod">
          <ac:chgData name="Damien SELVA" userId="133961e4-541a-463d-adbe-40f16e9ecdbb" providerId="ADAL" clId="{CE5C3BDE-DDD2-4E73-B20F-3FFE9CBF5849}" dt="2024-05-14T15:46:23.499" v="716" actId="1076"/>
          <ac:spMkLst>
            <pc:docMk/>
            <pc:sldMk cId="2451542942" sldId="2147470279"/>
            <ac:spMk id="173" creationId="{A6142390-3167-6AA1-1CEC-F2D5E0701CEF}"/>
          </ac:spMkLst>
        </pc:spChg>
        <pc:spChg chg="add mod">
          <ac:chgData name="Damien SELVA" userId="133961e4-541a-463d-adbe-40f16e9ecdbb" providerId="ADAL" clId="{CE5C3BDE-DDD2-4E73-B20F-3FFE9CBF5849}" dt="2024-05-14T15:46:23.499" v="716" actId="1076"/>
          <ac:spMkLst>
            <pc:docMk/>
            <pc:sldMk cId="2451542942" sldId="2147470279"/>
            <ac:spMk id="174" creationId="{2F819DA3-70D7-E42E-90D6-CB3591104744}"/>
          </ac:spMkLst>
        </pc:spChg>
        <pc:spChg chg="add mod">
          <ac:chgData name="Damien SELVA" userId="133961e4-541a-463d-adbe-40f16e9ecdbb" providerId="ADAL" clId="{CE5C3BDE-DDD2-4E73-B20F-3FFE9CBF5849}" dt="2024-05-14T15:46:23.499" v="716" actId="1076"/>
          <ac:spMkLst>
            <pc:docMk/>
            <pc:sldMk cId="2451542942" sldId="2147470279"/>
            <ac:spMk id="175" creationId="{AB736BF5-AA29-9461-FB06-D697494503CD}"/>
          </ac:spMkLst>
        </pc:spChg>
        <pc:spChg chg="add mod">
          <ac:chgData name="Damien SELVA" userId="133961e4-541a-463d-adbe-40f16e9ecdbb" providerId="ADAL" clId="{CE5C3BDE-DDD2-4E73-B20F-3FFE9CBF5849}" dt="2024-05-14T15:46:23.499" v="716" actId="1076"/>
          <ac:spMkLst>
            <pc:docMk/>
            <pc:sldMk cId="2451542942" sldId="2147470279"/>
            <ac:spMk id="176" creationId="{34ED4E0B-0A0B-F7D9-1D8B-EDEA81D98B84}"/>
          </ac:spMkLst>
        </pc:spChg>
        <pc:spChg chg="add mod">
          <ac:chgData name="Damien SELVA" userId="133961e4-541a-463d-adbe-40f16e9ecdbb" providerId="ADAL" clId="{CE5C3BDE-DDD2-4E73-B20F-3FFE9CBF5849}" dt="2024-05-14T15:46:23.499" v="716" actId="1076"/>
          <ac:spMkLst>
            <pc:docMk/>
            <pc:sldMk cId="2451542942" sldId="2147470279"/>
            <ac:spMk id="177" creationId="{680D76C4-3099-29B5-CB7F-B3DB1F1D3ED2}"/>
          </ac:spMkLst>
        </pc:spChg>
        <pc:spChg chg="add mod">
          <ac:chgData name="Damien SELVA" userId="133961e4-541a-463d-adbe-40f16e9ecdbb" providerId="ADAL" clId="{CE5C3BDE-DDD2-4E73-B20F-3FFE9CBF5849}" dt="2024-05-14T15:46:23.499" v="716" actId="1076"/>
          <ac:spMkLst>
            <pc:docMk/>
            <pc:sldMk cId="2451542942" sldId="2147470279"/>
            <ac:spMk id="178" creationId="{7899047B-0EB1-9CD9-5919-48217B053F06}"/>
          </ac:spMkLst>
        </pc:spChg>
        <pc:spChg chg="add mod">
          <ac:chgData name="Damien SELVA" userId="133961e4-541a-463d-adbe-40f16e9ecdbb" providerId="ADAL" clId="{CE5C3BDE-DDD2-4E73-B20F-3FFE9CBF5849}" dt="2024-05-14T15:39:52.963" v="223" actId="1076"/>
          <ac:spMkLst>
            <pc:docMk/>
            <pc:sldMk cId="2451542942" sldId="2147470279"/>
            <ac:spMk id="179" creationId="{68C6F791-DF2C-2587-9D98-D25898ED435A}"/>
          </ac:spMkLst>
        </pc:spChg>
        <pc:spChg chg="add mod">
          <ac:chgData name="Damien SELVA" userId="133961e4-541a-463d-adbe-40f16e9ecdbb" providerId="ADAL" clId="{CE5C3BDE-DDD2-4E73-B20F-3FFE9CBF5849}" dt="2024-05-14T15:39:45.967" v="222"/>
          <ac:spMkLst>
            <pc:docMk/>
            <pc:sldMk cId="2451542942" sldId="2147470279"/>
            <ac:spMk id="180" creationId="{746EE02B-6907-07AA-0360-B64C0C99934B}"/>
          </ac:spMkLst>
        </pc:spChg>
        <pc:spChg chg="mod">
          <ac:chgData name="Damien SELVA" userId="133961e4-541a-463d-adbe-40f16e9ecdbb" providerId="ADAL" clId="{CE5C3BDE-DDD2-4E73-B20F-3FFE9CBF5849}" dt="2024-05-14T15:39:45.967" v="222"/>
          <ac:spMkLst>
            <pc:docMk/>
            <pc:sldMk cId="2451542942" sldId="2147470279"/>
            <ac:spMk id="182" creationId="{C3B829DE-E4A8-48F7-37D1-7AE23D07107E}"/>
          </ac:spMkLst>
        </pc:spChg>
        <pc:spChg chg="mod">
          <ac:chgData name="Damien SELVA" userId="133961e4-541a-463d-adbe-40f16e9ecdbb" providerId="ADAL" clId="{CE5C3BDE-DDD2-4E73-B20F-3FFE9CBF5849}" dt="2024-05-14T15:39:45.967" v="222"/>
          <ac:spMkLst>
            <pc:docMk/>
            <pc:sldMk cId="2451542942" sldId="2147470279"/>
            <ac:spMk id="183" creationId="{A4864320-7F30-A792-5723-EFE2AB2036A3}"/>
          </ac:spMkLst>
        </pc:spChg>
        <pc:spChg chg="mod">
          <ac:chgData name="Damien SELVA" userId="133961e4-541a-463d-adbe-40f16e9ecdbb" providerId="ADAL" clId="{CE5C3BDE-DDD2-4E73-B20F-3FFE9CBF5849}" dt="2024-05-14T15:39:45.967" v="222"/>
          <ac:spMkLst>
            <pc:docMk/>
            <pc:sldMk cId="2451542942" sldId="2147470279"/>
            <ac:spMk id="185" creationId="{399A1194-4D4D-DB4F-9316-9143AA748B22}"/>
          </ac:spMkLst>
        </pc:spChg>
        <pc:spChg chg="mod">
          <ac:chgData name="Damien SELVA" userId="133961e4-541a-463d-adbe-40f16e9ecdbb" providerId="ADAL" clId="{CE5C3BDE-DDD2-4E73-B20F-3FFE9CBF5849}" dt="2024-05-14T15:39:45.967" v="222"/>
          <ac:spMkLst>
            <pc:docMk/>
            <pc:sldMk cId="2451542942" sldId="2147470279"/>
            <ac:spMk id="186" creationId="{9B6B70FA-CF27-DC30-EEFF-B61834996629}"/>
          </ac:spMkLst>
        </pc:spChg>
        <pc:spChg chg="del mod">
          <ac:chgData name="Damien SELVA" userId="133961e4-541a-463d-adbe-40f16e9ecdbb" providerId="ADAL" clId="{CE5C3BDE-DDD2-4E73-B20F-3FFE9CBF5849}" dt="2024-05-14T15:43:56.146" v="506" actId="478"/>
          <ac:spMkLst>
            <pc:docMk/>
            <pc:sldMk cId="2451542942" sldId="2147470279"/>
            <ac:spMk id="188" creationId="{11FEAAF2-3BA8-AD0C-C084-EBA9BE7DAE04}"/>
          </ac:spMkLst>
        </pc:spChg>
        <pc:spChg chg="del mod topLvl">
          <ac:chgData name="Damien SELVA" userId="133961e4-541a-463d-adbe-40f16e9ecdbb" providerId="ADAL" clId="{CE5C3BDE-DDD2-4E73-B20F-3FFE9CBF5849}" dt="2024-05-14T15:43:59.175" v="507" actId="478"/>
          <ac:spMkLst>
            <pc:docMk/>
            <pc:sldMk cId="2451542942" sldId="2147470279"/>
            <ac:spMk id="189" creationId="{B4C76D9D-E61B-9578-0F93-7A0A67FE6E65}"/>
          </ac:spMkLst>
        </pc:spChg>
        <pc:spChg chg="del mod topLvl">
          <ac:chgData name="Damien SELVA" userId="133961e4-541a-463d-adbe-40f16e9ecdbb" providerId="ADAL" clId="{CE5C3BDE-DDD2-4E73-B20F-3FFE9CBF5849}" dt="2024-05-14T15:44:00.321" v="508" actId="478"/>
          <ac:spMkLst>
            <pc:docMk/>
            <pc:sldMk cId="2451542942" sldId="2147470279"/>
            <ac:spMk id="190" creationId="{552E2AE7-A594-7DB9-245B-DF0D11F7DF07}"/>
          </ac:spMkLst>
        </pc:spChg>
        <pc:spChg chg="add mod">
          <ac:chgData name="Damien SELVA" userId="133961e4-541a-463d-adbe-40f16e9ecdbb" providerId="ADAL" clId="{CE5C3BDE-DDD2-4E73-B20F-3FFE9CBF5849}" dt="2024-05-14T15:46:23.499" v="716" actId="1076"/>
          <ac:spMkLst>
            <pc:docMk/>
            <pc:sldMk cId="2451542942" sldId="2147470279"/>
            <ac:spMk id="191" creationId="{63F0BC79-C843-4D8A-9E99-0EBE734671EA}"/>
          </ac:spMkLst>
        </pc:spChg>
        <pc:spChg chg="add mod">
          <ac:chgData name="Damien SELVA" userId="133961e4-541a-463d-adbe-40f16e9ecdbb" providerId="ADAL" clId="{CE5C3BDE-DDD2-4E73-B20F-3FFE9CBF5849}" dt="2024-05-14T15:46:23.499" v="716" actId="1076"/>
          <ac:spMkLst>
            <pc:docMk/>
            <pc:sldMk cId="2451542942" sldId="2147470279"/>
            <ac:spMk id="193" creationId="{83C9D6C9-D630-3DF3-44A7-97867634B8C9}"/>
          </ac:spMkLst>
        </pc:spChg>
        <pc:spChg chg="mod">
          <ac:chgData name="Damien SELVA" userId="133961e4-541a-463d-adbe-40f16e9ecdbb" providerId="ADAL" clId="{CE5C3BDE-DDD2-4E73-B20F-3FFE9CBF5849}" dt="2024-05-14T15:44:06.391" v="533" actId="1038"/>
          <ac:spMkLst>
            <pc:docMk/>
            <pc:sldMk cId="2451542942" sldId="2147470279"/>
            <ac:spMk id="196" creationId="{524F40CE-5915-3367-38D3-3717E88BA642}"/>
          </ac:spMkLst>
        </pc:spChg>
        <pc:spChg chg="mod">
          <ac:chgData name="Damien SELVA" userId="133961e4-541a-463d-adbe-40f16e9ecdbb" providerId="ADAL" clId="{CE5C3BDE-DDD2-4E73-B20F-3FFE9CBF5849}" dt="2024-05-14T15:39:45.967" v="222"/>
          <ac:spMkLst>
            <pc:docMk/>
            <pc:sldMk cId="2451542942" sldId="2147470279"/>
            <ac:spMk id="197" creationId="{4531F223-A255-558E-E0A7-F1A426DA8937}"/>
          </ac:spMkLst>
        </pc:spChg>
        <pc:spChg chg="mod">
          <ac:chgData name="Damien SELVA" userId="133961e4-541a-463d-adbe-40f16e9ecdbb" providerId="ADAL" clId="{CE5C3BDE-DDD2-4E73-B20F-3FFE9CBF5849}" dt="2024-05-14T15:39:45.967" v="222"/>
          <ac:spMkLst>
            <pc:docMk/>
            <pc:sldMk cId="2451542942" sldId="2147470279"/>
            <ac:spMk id="198" creationId="{340FE5CB-55A8-394C-C4DC-7F2AB124E5BB}"/>
          </ac:spMkLst>
        </pc:spChg>
        <pc:spChg chg="mod">
          <ac:chgData name="Damien SELVA" userId="133961e4-541a-463d-adbe-40f16e9ecdbb" providerId="ADAL" clId="{CE5C3BDE-DDD2-4E73-B20F-3FFE9CBF5849}" dt="2024-05-14T15:39:45.967" v="222"/>
          <ac:spMkLst>
            <pc:docMk/>
            <pc:sldMk cId="2451542942" sldId="2147470279"/>
            <ac:spMk id="199" creationId="{9224891C-11DA-F904-84D4-99533967BEAD}"/>
          </ac:spMkLst>
        </pc:spChg>
        <pc:spChg chg="mod">
          <ac:chgData name="Damien SELVA" userId="133961e4-541a-463d-adbe-40f16e9ecdbb" providerId="ADAL" clId="{CE5C3BDE-DDD2-4E73-B20F-3FFE9CBF5849}" dt="2024-05-14T15:39:45.967" v="222"/>
          <ac:spMkLst>
            <pc:docMk/>
            <pc:sldMk cId="2451542942" sldId="2147470279"/>
            <ac:spMk id="200" creationId="{3EE0C617-1798-7AD4-9D56-13E5CD4B9472}"/>
          </ac:spMkLst>
        </pc:spChg>
        <pc:spChg chg="add del mod">
          <ac:chgData name="Damien SELVA" userId="133961e4-541a-463d-adbe-40f16e9ecdbb" providerId="ADAL" clId="{CE5C3BDE-DDD2-4E73-B20F-3FFE9CBF5849}" dt="2024-05-14T15:40:00.658" v="224" actId="478"/>
          <ac:spMkLst>
            <pc:docMk/>
            <pc:sldMk cId="2451542942" sldId="2147470279"/>
            <ac:spMk id="206" creationId="{3D0B245E-0292-781D-76E8-DE81C5CB3FF8}"/>
          </ac:spMkLst>
        </pc:spChg>
        <pc:spChg chg="add del mod">
          <ac:chgData name="Damien SELVA" userId="133961e4-541a-463d-adbe-40f16e9ecdbb" providerId="ADAL" clId="{CE5C3BDE-DDD2-4E73-B20F-3FFE9CBF5849}" dt="2024-05-14T15:44:28.215" v="549" actId="478"/>
          <ac:spMkLst>
            <pc:docMk/>
            <pc:sldMk cId="2451542942" sldId="2147470279"/>
            <ac:spMk id="207" creationId="{35BE6062-DC68-BE99-69D5-0531B2E289DB}"/>
          </ac:spMkLst>
        </pc:spChg>
        <pc:spChg chg="add mod">
          <ac:chgData name="Damien SELVA" userId="133961e4-541a-463d-adbe-40f16e9ecdbb" providerId="ADAL" clId="{CE5C3BDE-DDD2-4E73-B20F-3FFE9CBF5849}" dt="2024-05-14T15:39:45.967" v="222"/>
          <ac:spMkLst>
            <pc:docMk/>
            <pc:sldMk cId="2451542942" sldId="2147470279"/>
            <ac:spMk id="208" creationId="{6A2D932B-7C90-8C56-93CA-4FB609C7874D}"/>
          </ac:spMkLst>
        </pc:spChg>
        <pc:spChg chg="add mod">
          <ac:chgData name="Damien SELVA" userId="133961e4-541a-463d-adbe-40f16e9ecdbb" providerId="ADAL" clId="{CE5C3BDE-DDD2-4E73-B20F-3FFE9CBF5849}" dt="2024-05-14T15:39:45.967" v="222"/>
          <ac:spMkLst>
            <pc:docMk/>
            <pc:sldMk cId="2451542942" sldId="2147470279"/>
            <ac:spMk id="209" creationId="{341713FC-42F0-9373-026F-BA189B5884A0}"/>
          </ac:spMkLst>
        </pc:spChg>
        <pc:spChg chg="add del mod ord">
          <ac:chgData name="Damien SELVA" userId="133961e4-541a-463d-adbe-40f16e9ecdbb" providerId="ADAL" clId="{CE5C3BDE-DDD2-4E73-B20F-3FFE9CBF5849}" dt="2024-05-14T15:45:00.137" v="563" actId="478"/>
          <ac:spMkLst>
            <pc:docMk/>
            <pc:sldMk cId="2451542942" sldId="2147470279"/>
            <ac:spMk id="211" creationId="{73003A53-795C-4AED-365C-E0AF89143235}"/>
          </ac:spMkLst>
        </pc:spChg>
        <pc:spChg chg="add mod">
          <ac:chgData name="Damien SELVA" userId="133961e4-541a-463d-adbe-40f16e9ecdbb" providerId="ADAL" clId="{CE5C3BDE-DDD2-4E73-B20F-3FFE9CBF5849}" dt="2024-05-14T15:39:45.967" v="222"/>
          <ac:spMkLst>
            <pc:docMk/>
            <pc:sldMk cId="2451542942" sldId="2147470279"/>
            <ac:spMk id="212" creationId="{21DDE7CE-1BE8-8960-93E6-F27A082A2F71}"/>
          </ac:spMkLst>
        </pc:spChg>
        <pc:spChg chg="add del mod">
          <ac:chgData name="Damien SELVA" userId="133961e4-541a-463d-adbe-40f16e9ecdbb" providerId="ADAL" clId="{CE5C3BDE-DDD2-4E73-B20F-3FFE9CBF5849}" dt="2024-05-14T15:46:13.476" v="715" actId="1036"/>
          <ac:spMkLst>
            <pc:docMk/>
            <pc:sldMk cId="2451542942" sldId="2147470279"/>
            <ac:spMk id="213" creationId="{0A8003D1-D134-AE30-0090-52F7211E0063}"/>
          </ac:spMkLst>
        </pc:spChg>
        <pc:spChg chg="add del mod">
          <ac:chgData name="Damien SELVA" userId="133961e4-541a-463d-adbe-40f16e9ecdbb" providerId="ADAL" clId="{CE5C3BDE-DDD2-4E73-B20F-3FFE9CBF5849}" dt="2024-05-14T15:44:41.710" v="557" actId="478"/>
          <ac:spMkLst>
            <pc:docMk/>
            <pc:sldMk cId="2451542942" sldId="2147470279"/>
            <ac:spMk id="214" creationId="{38053374-FCA5-8C2B-DC70-E873067C2748}"/>
          </ac:spMkLst>
        </pc:spChg>
        <pc:spChg chg="add del mod">
          <ac:chgData name="Damien SELVA" userId="133961e4-541a-463d-adbe-40f16e9ecdbb" providerId="ADAL" clId="{CE5C3BDE-DDD2-4E73-B20F-3FFE9CBF5849}" dt="2024-05-14T15:43:45.535" v="502" actId="478"/>
          <ac:spMkLst>
            <pc:docMk/>
            <pc:sldMk cId="2451542942" sldId="2147470279"/>
            <ac:spMk id="216" creationId="{CD9321D9-9B80-6D01-DAA2-A5EC7347645C}"/>
          </ac:spMkLst>
        </pc:spChg>
        <pc:spChg chg="add del mod">
          <ac:chgData name="Damien SELVA" userId="133961e4-541a-463d-adbe-40f16e9ecdbb" providerId="ADAL" clId="{CE5C3BDE-DDD2-4E73-B20F-3FFE9CBF5849}" dt="2024-05-14T15:43:47.566" v="503" actId="478"/>
          <ac:spMkLst>
            <pc:docMk/>
            <pc:sldMk cId="2451542942" sldId="2147470279"/>
            <ac:spMk id="217" creationId="{68883319-4D13-BAD7-D33A-5EFF0767DEDD}"/>
          </ac:spMkLst>
        </pc:spChg>
        <pc:spChg chg="add del mod">
          <ac:chgData name="Damien SELVA" userId="133961e4-541a-463d-adbe-40f16e9ecdbb" providerId="ADAL" clId="{CE5C3BDE-DDD2-4E73-B20F-3FFE9CBF5849}" dt="2024-05-14T15:43:50.111" v="505" actId="478"/>
          <ac:spMkLst>
            <pc:docMk/>
            <pc:sldMk cId="2451542942" sldId="2147470279"/>
            <ac:spMk id="218" creationId="{C54E84A5-BA61-C885-500E-B7DFC6A62A99}"/>
          </ac:spMkLst>
        </pc:spChg>
        <pc:spChg chg="add del mod">
          <ac:chgData name="Damien SELVA" userId="133961e4-541a-463d-adbe-40f16e9ecdbb" providerId="ADAL" clId="{CE5C3BDE-DDD2-4E73-B20F-3FFE9CBF5849}" dt="2024-05-14T15:43:49.264" v="504" actId="478"/>
          <ac:spMkLst>
            <pc:docMk/>
            <pc:sldMk cId="2451542942" sldId="2147470279"/>
            <ac:spMk id="219" creationId="{6BFEB284-7E1E-C77A-84A2-892C9E94F8D1}"/>
          </ac:spMkLst>
        </pc:spChg>
        <pc:spChg chg="add mod">
          <ac:chgData name="Damien SELVA" userId="133961e4-541a-463d-adbe-40f16e9ecdbb" providerId="ADAL" clId="{CE5C3BDE-DDD2-4E73-B20F-3FFE9CBF5849}" dt="2024-05-14T15:46:23.499" v="716" actId="1076"/>
          <ac:spMkLst>
            <pc:docMk/>
            <pc:sldMk cId="2451542942" sldId="2147470279"/>
            <ac:spMk id="220" creationId="{AFAA0E5A-B4B3-7082-2624-B7628CDC515B}"/>
          </ac:spMkLst>
        </pc:spChg>
        <pc:spChg chg="add mod">
          <ac:chgData name="Damien SELVA" userId="133961e4-541a-463d-adbe-40f16e9ecdbb" providerId="ADAL" clId="{CE5C3BDE-DDD2-4E73-B20F-3FFE9CBF5849}" dt="2024-05-14T15:46:23.499" v="716" actId="1076"/>
          <ac:spMkLst>
            <pc:docMk/>
            <pc:sldMk cId="2451542942" sldId="2147470279"/>
            <ac:spMk id="221" creationId="{5D8CC739-4223-5FE1-F887-07F247FA4480}"/>
          </ac:spMkLst>
        </pc:spChg>
        <pc:spChg chg="add mod">
          <ac:chgData name="Damien SELVA" userId="133961e4-541a-463d-adbe-40f16e9ecdbb" providerId="ADAL" clId="{CE5C3BDE-DDD2-4E73-B20F-3FFE9CBF5849}" dt="2024-05-14T15:46:23.499" v="716" actId="1076"/>
          <ac:spMkLst>
            <pc:docMk/>
            <pc:sldMk cId="2451542942" sldId="2147470279"/>
            <ac:spMk id="222" creationId="{7F4CE4FA-BB0E-3664-F407-F5B4B05706C1}"/>
          </ac:spMkLst>
        </pc:spChg>
        <pc:spChg chg="add mod">
          <ac:chgData name="Damien SELVA" userId="133961e4-541a-463d-adbe-40f16e9ecdbb" providerId="ADAL" clId="{CE5C3BDE-DDD2-4E73-B20F-3FFE9CBF5849}" dt="2024-05-14T15:46:02.917" v="707" actId="20577"/>
          <ac:spMkLst>
            <pc:docMk/>
            <pc:sldMk cId="2451542942" sldId="2147470279"/>
            <ac:spMk id="223" creationId="{5D11B9FF-E6ED-AE64-4FDC-FC87B8B941DD}"/>
          </ac:spMkLst>
        </pc:spChg>
        <pc:grpChg chg="del">
          <ac:chgData name="Damien SELVA" userId="133961e4-541a-463d-adbe-40f16e9ecdbb" providerId="ADAL" clId="{CE5C3BDE-DDD2-4E73-B20F-3FFE9CBF5849}" dt="2024-05-14T15:38:13.914" v="5" actId="478"/>
          <ac:grpSpMkLst>
            <pc:docMk/>
            <pc:sldMk cId="2451542942" sldId="2147470279"/>
            <ac:grpSpMk id="24" creationId="{317553C0-8AC2-35DE-55BB-F3AAE20C0921}"/>
          </ac:grpSpMkLst>
        </pc:grpChg>
        <pc:grpChg chg="del">
          <ac:chgData name="Damien SELVA" userId="133961e4-541a-463d-adbe-40f16e9ecdbb" providerId="ADAL" clId="{CE5C3BDE-DDD2-4E73-B20F-3FFE9CBF5849}" dt="2024-05-14T15:38:13.914" v="5" actId="478"/>
          <ac:grpSpMkLst>
            <pc:docMk/>
            <pc:sldMk cId="2451542942" sldId="2147470279"/>
            <ac:grpSpMk id="27" creationId="{27E6DBF6-DFA5-E145-912D-5C75ABECA9DC}"/>
          </ac:grpSpMkLst>
        </pc:grpChg>
        <pc:grpChg chg="del">
          <ac:chgData name="Damien SELVA" userId="133961e4-541a-463d-adbe-40f16e9ecdbb" providerId="ADAL" clId="{CE5C3BDE-DDD2-4E73-B20F-3FFE9CBF5849}" dt="2024-05-14T15:38:13.914" v="5" actId="478"/>
          <ac:grpSpMkLst>
            <pc:docMk/>
            <pc:sldMk cId="2451542942" sldId="2147470279"/>
            <ac:grpSpMk id="32" creationId="{E8B01C68-186A-DD81-00D7-B8704D51D6DE}"/>
          </ac:grpSpMkLst>
        </pc:grpChg>
        <pc:grpChg chg="del">
          <ac:chgData name="Damien SELVA" userId="133961e4-541a-463d-adbe-40f16e9ecdbb" providerId="ADAL" clId="{CE5C3BDE-DDD2-4E73-B20F-3FFE9CBF5849}" dt="2024-05-14T15:38:13.914" v="5" actId="478"/>
          <ac:grpSpMkLst>
            <pc:docMk/>
            <pc:sldMk cId="2451542942" sldId="2147470279"/>
            <ac:grpSpMk id="36" creationId="{A08ADA38-3355-EDCE-4A87-187F45322B20}"/>
          </ac:grpSpMkLst>
        </pc:grpChg>
        <pc:grpChg chg="del">
          <ac:chgData name="Damien SELVA" userId="133961e4-541a-463d-adbe-40f16e9ecdbb" providerId="ADAL" clId="{CE5C3BDE-DDD2-4E73-B20F-3FFE9CBF5849}" dt="2024-05-14T15:38:13.914" v="5" actId="478"/>
          <ac:grpSpMkLst>
            <pc:docMk/>
            <pc:sldMk cId="2451542942" sldId="2147470279"/>
            <ac:grpSpMk id="39" creationId="{D4A99EAD-3436-4BB8-957E-146E4F0EC7EB}"/>
          </ac:grpSpMkLst>
        </pc:grpChg>
        <pc:grpChg chg="del">
          <ac:chgData name="Damien SELVA" userId="133961e4-541a-463d-adbe-40f16e9ecdbb" providerId="ADAL" clId="{CE5C3BDE-DDD2-4E73-B20F-3FFE9CBF5849}" dt="2024-05-14T15:38:13.914" v="5" actId="478"/>
          <ac:grpSpMkLst>
            <pc:docMk/>
            <pc:sldMk cId="2451542942" sldId="2147470279"/>
            <ac:grpSpMk id="46" creationId="{F9FD9147-EBE3-3D43-5A3B-73CFC2E83287}"/>
          </ac:grpSpMkLst>
        </pc:grpChg>
        <pc:grpChg chg="del">
          <ac:chgData name="Damien SELVA" userId="133961e4-541a-463d-adbe-40f16e9ecdbb" providerId="ADAL" clId="{CE5C3BDE-DDD2-4E73-B20F-3FFE9CBF5849}" dt="2024-05-14T15:38:13.914" v="5" actId="478"/>
          <ac:grpSpMkLst>
            <pc:docMk/>
            <pc:sldMk cId="2451542942" sldId="2147470279"/>
            <ac:grpSpMk id="51" creationId="{9829AAD9-EF8F-4929-EAE6-67F8E67BD5B3}"/>
          </ac:grpSpMkLst>
        </pc:grpChg>
        <pc:grpChg chg="add mod">
          <ac:chgData name="Damien SELVA" userId="133961e4-541a-463d-adbe-40f16e9ecdbb" providerId="ADAL" clId="{CE5C3BDE-DDD2-4E73-B20F-3FFE9CBF5849}" dt="2024-05-14T15:39:44.309" v="221"/>
          <ac:grpSpMkLst>
            <pc:docMk/>
            <pc:sldMk cId="2451542942" sldId="2147470279"/>
            <ac:grpSpMk id="76" creationId="{4DE9D1ED-585E-AAC2-65D1-0511BF991EDB}"/>
          </ac:grpSpMkLst>
        </pc:grpChg>
        <pc:grpChg chg="add mod">
          <ac:chgData name="Damien SELVA" userId="133961e4-541a-463d-adbe-40f16e9ecdbb" providerId="ADAL" clId="{CE5C3BDE-DDD2-4E73-B20F-3FFE9CBF5849}" dt="2024-05-14T15:39:44.309" v="221"/>
          <ac:grpSpMkLst>
            <pc:docMk/>
            <pc:sldMk cId="2451542942" sldId="2147470279"/>
            <ac:grpSpMk id="81" creationId="{F9946564-A170-68BD-A84F-DDA08724E8A0}"/>
          </ac:grpSpMkLst>
        </pc:grpChg>
        <pc:grpChg chg="add mod">
          <ac:chgData name="Damien SELVA" userId="133961e4-541a-463d-adbe-40f16e9ecdbb" providerId="ADAL" clId="{CE5C3BDE-DDD2-4E73-B20F-3FFE9CBF5849}" dt="2024-05-14T15:39:44.309" v="221"/>
          <ac:grpSpMkLst>
            <pc:docMk/>
            <pc:sldMk cId="2451542942" sldId="2147470279"/>
            <ac:grpSpMk id="97" creationId="{24239651-E483-4073-3AB1-D7B66C2D743A}"/>
          </ac:grpSpMkLst>
        </pc:grpChg>
        <pc:grpChg chg="add mod">
          <ac:chgData name="Damien SELVA" userId="133961e4-541a-463d-adbe-40f16e9ecdbb" providerId="ADAL" clId="{CE5C3BDE-DDD2-4E73-B20F-3FFE9CBF5849}" dt="2024-05-14T15:39:44.309" v="221"/>
          <ac:grpSpMkLst>
            <pc:docMk/>
            <pc:sldMk cId="2451542942" sldId="2147470279"/>
            <ac:grpSpMk id="100" creationId="{2E6C2BEA-0F42-3A24-5889-F0183A4B7DF3}"/>
          </ac:grpSpMkLst>
        </pc:grpChg>
        <pc:grpChg chg="add mod">
          <ac:chgData name="Damien SELVA" userId="133961e4-541a-463d-adbe-40f16e9ecdbb" providerId="ADAL" clId="{CE5C3BDE-DDD2-4E73-B20F-3FFE9CBF5849}" dt="2024-05-14T15:39:44.309" v="221"/>
          <ac:grpSpMkLst>
            <pc:docMk/>
            <pc:sldMk cId="2451542942" sldId="2147470279"/>
            <ac:grpSpMk id="103" creationId="{3E6377E4-3996-13D8-17DC-252A24DFF529}"/>
          </ac:grpSpMkLst>
        </pc:grpChg>
        <pc:grpChg chg="add mod">
          <ac:chgData name="Damien SELVA" userId="133961e4-541a-463d-adbe-40f16e9ecdbb" providerId="ADAL" clId="{CE5C3BDE-DDD2-4E73-B20F-3FFE9CBF5849}" dt="2024-05-14T15:39:44.309" v="221"/>
          <ac:grpSpMkLst>
            <pc:docMk/>
            <pc:sldMk cId="2451542942" sldId="2147470279"/>
            <ac:grpSpMk id="110" creationId="{DB51D227-7120-D597-644A-68AC094D83B2}"/>
          </ac:grpSpMkLst>
        </pc:grpChg>
        <pc:grpChg chg="add mod">
          <ac:chgData name="Damien SELVA" userId="133961e4-541a-463d-adbe-40f16e9ecdbb" providerId="ADAL" clId="{CE5C3BDE-DDD2-4E73-B20F-3FFE9CBF5849}" dt="2024-05-14T15:40:05.649" v="227" actId="1076"/>
          <ac:grpSpMkLst>
            <pc:docMk/>
            <pc:sldMk cId="2451542942" sldId="2147470279"/>
            <ac:grpSpMk id="160" creationId="{E9272D98-1998-1F90-85D4-DCC222CB5886}"/>
          </ac:grpSpMkLst>
        </pc:grpChg>
        <pc:grpChg chg="add mod">
          <ac:chgData name="Damien SELVA" userId="133961e4-541a-463d-adbe-40f16e9ecdbb" providerId="ADAL" clId="{CE5C3BDE-DDD2-4E73-B20F-3FFE9CBF5849}" dt="2024-05-14T15:39:45.967" v="222"/>
          <ac:grpSpMkLst>
            <pc:docMk/>
            <pc:sldMk cId="2451542942" sldId="2147470279"/>
            <ac:grpSpMk id="165" creationId="{58616C01-79A3-3ED2-0B5E-6B2A4AA97800}"/>
          </ac:grpSpMkLst>
        </pc:grpChg>
        <pc:grpChg chg="add mod">
          <ac:chgData name="Damien SELVA" userId="133961e4-541a-463d-adbe-40f16e9ecdbb" providerId="ADAL" clId="{CE5C3BDE-DDD2-4E73-B20F-3FFE9CBF5849}" dt="2024-05-14T15:39:45.967" v="222"/>
          <ac:grpSpMkLst>
            <pc:docMk/>
            <pc:sldMk cId="2451542942" sldId="2147470279"/>
            <ac:grpSpMk id="181" creationId="{B40FA819-4BA2-BCE4-814F-9934D7DA54FE}"/>
          </ac:grpSpMkLst>
        </pc:grpChg>
        <pc:grpChg chg="add mod">
          <ac:chgData name="Damien SELVA" userId="133961e4-541a-463d-adbe-40f16e9ecdbb" providerId="ADAL" clId="{CE5C3BDE-DDD2-4E73-B20F-3FFE9CBF5849}" dt="2024-05-14T15:39:45.967" v="222"/>
          <ac:grpSpMkLst>
            <pc:docMk/>
            <pc:sldMk cId="2451542942" sldId="2147470279"/>
            <ac:grpSpMk id="184" creationId="{CDCAFBC1-6C35-E06A-B17C-A12387EE8881}"/>
          </ac:grpSpMkLst>
        </pc:grpChg>
        <pc:grpChg chg="add del mod">
          <ac:chgData name="Damien SELVA" userId="133961e4-541a-463d-adbe-40f16e9ecdbb" providerId="ADAL" clId="{CE5C3BDE-DDD2-4E73-B20F-3FFE9CBF5849}" dt="2024-05-14T15:43:59.175" v="507" actId="478"/>
          <ac:grpSpMkLst>
            <pc:docMk/>
            <pc:sldMk cId="2451542942" sldId="2147470279"/>
            <ac:grpSpMk id="187" creationId="{5A0E9A74-778F-8A7B-5577-32ED1774F1A2}"/>
          </ac:grpSpMkLst>
        </pc:grpChg>
        <pc:grpChg chg="add mod">
          <ac:chgData name="Damien SELVA" userId="133961e4-541a-463d-adbe-40f16e9ecdbb" providerId="ADAL" clId="{CE5C3BDE-DDD2-4E73-B20F-3FFE9CBF5849}" dt="2024-05-14T15:39:45.967" v="222"/>
          <ac:grpSpMkLst>
            <pc:docMk/>
            <pc:sldMk cId="2451542942" sldId="2147470279"/>
            <ac:grpSpMk id="194" creationId="{183983E0-1EE9-9817-8829-C0E66B8B4B40}"/>
          </ac:grpSpMkLst>
        </pc:grpChg>
        <pc:graphicFrameChg chg="add mod">
          <ac:chgData name="Damien SELVA" userId="133961e4-541a-463d-adbe-40f16e9ecdbb" providerId="ADAL" clId="{CE5C3BDE-DDD2-4E73-B20F-3FFE9CBF5849}" dt="2024-05-14T15:39:44.309" v="221"/>
          <ac:graphicFrameMkLst>
            <pc:docMk/>
            <pc:sldMk cId="2451542942" sldId="2147470279"/>
            <ac:graphicFrameMk id="2" creationId="{5F61DE38-B893-8346-1CA1-1D4147ABD783}"/>
          </ac:graphicFrameMkLst>
        </pc:graphicFrameChg>
        <pc:graphicFrameChg chg="add mod">
          <ac:chgData name="Damien SELVA" userId="133961e4-541a-463d-adbe-40f16e9ecdbb" providerId="ADAL" clId="{CE5C3BDE-DDD2-4E73-B20F-3FFE9CBF5849}" dt="2024-05-14T15:39:44.309" v="221"/>
          <ac:graphicFrameMkLst>
            <pc:docMk/>
            <pc:sldMk cId="2451542942" sldId="2147470279"/>
            <ac:graphicFrameMk id="65" creationId="{87AF757D-08B9-53F8-45B2-6B59B6220B69}"/>
          </ac:graphicFrameMkLst>
        </pc:graphicFrameChg>
        <pc:graphicFrameChg chg="add mod">
          <ac:chgData name="Damien SELVA" userId="133961e4-541a-463d-adbe-40f16e9ecdbb" providerId="ADAL" clId="{CE5C3BDE-DDD2-4E73-B20F-3FFE9CBF5849}" dt="2024-05-14T15:39:45.967" v="222"/>
          <ac:graphicFrameMkLst>
            <pc:docMk/>
            <pc:sldMk cId="2451542942" sldId="2147470279"/>
            <ac:graphicFrameMk id="139" creationId="{44D5E58A-011F-6E65-9C57-A058CDC4E7EF}"/>
          </ac:graphicFrameMkLst>
        </pc:graphicFrameChg>
        <pc:graphicFrameChg chg="add mod">
          <ac:chgData name="Damien SELVA" userId="133961e4-541a-463d-adbe-40f16e9ecdbb" providerId="ADAL" clId="{CE5C3BDE-DDD2-4E73-B20F-3FFE9CBF5849}" dt="2024-05-14T15:46:23.499" v="716" actId="1076"/>
          <ac:graphicFrameMkLst>
            <pc:docMk/>
            <pc:sldMk cId="2451542942" sldId="2147470279"/>
            <ac:graphicFrameMk id="149" creationId="{E69FC65D-8379-4765-9315-A9F4BF332CEF}"/>
          </ac:graphicFrameMkLst>
        </pc:graphicFrameChg>
        <pc:picChg chg="add mod">
          <ac:chgData name="Damien SELVA" userId="133961e4-541a-463d-adbe-40f16e9ecdbb" providerId="ADAL" clId="{CE5C3BDE-DDD2-4E73-B20F-3FFE9CBF5849}" dt="2024-05-14T15:39:44.309" v="221"/>
          <ac:picMkLst>
            <pc:docMk/>
            <pc:sldMk cId="2451542942" sldId="2147470279"/>
            <ac:picMk id="6" creationId="{4D625FBF-6169-6892-D89D-954CE2A917CD}"/>
          </ac:picMkLst>
        </pc:picChg>
        <pc:picChg chg="add mod">
          <ac:chgData name="Damien SELVA" userId="133961e4-541a-463d-adbe-40f16e9ecdbb" providerId="ADAL" clId="{CE5C3BDE-DDD2-4E73-B20F-3FFE9CBF5849}" dt="2024-05-14T15:39:44.309" v="221"/>
          <ac:picMkLst>
            <pc:docMk/>
            <pc:sldMk cId="2451542942" sldId="2147470279"/>
            <ac:picMk id="54" creationId="{4881E359-189D-2B1A-7158-DA2818BE6472}"/>
          </ac:picMkLst>
        </pc:picChg>
        <pc:picChg chg="add mod">
          <ac:chgData name="Damien SELVA" userId="133961e4-541a-463d-adbe-40f16e9ecdbb" providerId="ADAL" clId="{CE5C3BDE-DDD2-4E73-B20F-3FFE9CBF5849}" dt="2024-05-14T15:39:44.309" v="221"/>
          <ac:picMkLst>
            <pc:docMk/>
            <pc:sldMk cId="2451542942" sldId="2147470279"/>
            <ac:picMk id="66" creationId="{1B54B0F8-3E30-08B3-E7C2-E91DCB273456}"/>
          </ac:picMkLst>
        </pc:picChg>
        <pc:picChg chg="add mod">
          <ac:chgData name="Damien SELVA" userId="133961e4-541a-463d-adbe-40f16e9ecdbb" providerId="ADAL" clId="{CE5C3BDE-DDD2-4E73-B20F-3FFE9CBF5849}" dt="2024-05-14T15:39:44.309" v="221"/>
          <ac:picMkLst>
            <pc:docMk/>
            <pc:sldMk cId="2451542942" sldId="2147470279"/>
            <ac:picMk id="67" creationId="{62D26B32-7215-A17E-8963-1EDA6487F0A6}"/>
          </ac:picMkLst>
        </pc:picChg>
        <pc:picChg chg="add mod">
          <ac:chgData name="Damien SELVA" userId="133961e4-541a-463d-adbe-40f16e9ecdbb" providerId="ADAL" clId="{CE5C3BDE-DDD2-4E73-B20F-3FFE9CBF5849}" dt="2024-05-14T15:39:44.309" v="221"/>
          <ac:picMkLst>
            <pc:docMk/>
            <pc:sldMk cId="2451542942" sldId="2147470279"/>
            <ac:picMk id="108" creationId="{461EA61A-3F54-C81B-71E3-A390F31CCA10}"/>
          </ac:picMkLst>
        </pc:picChg>
        <pc:picChg chg="mod">
          <ac:chgData name="Damien SELVA" userId="133961e4-541a-463d-adbe-40f16e9ecdbb" providerId="ADAL" clId="{CE5C3BDE-DDD2-4E73-B20F-3FFE9CBF5849}" dt="2024-05-14T15:39:44.309" v="221"/>
          <ac:picMkLst>
            <pc:docMk/>
            <pc:sldMk cId="2451542942" sldId="2147470279"/>
            <ac:picMk id="111" creationId="{413DC77B-7C26-B32F-61B7-C1D783A84EED}"/>
          </ac:picMkLst>
        </pc:picChg>
        <pc:picChg chg="mod">
          <ac:chgData name="Damien SELVA" userId="133961e4-541a-463d-adbe-40f16e9ecdbb" providerId="ADAL" clId="{CE5C3BDE-DDD2-4E73-B20F-3FFE9CBF5849}" dt="2024-05-14T15:39:44.309" v="221"/>
          <ac:picMkLst>
            <pc:docMk/>
            <pc:sldMk cId="2451542942" sldId="2147470279"/>
            <ac:picMk id="117" creationId="{B39ACBB5-B93D-987F-58C7-D51C077A895D}"/>
          </ac:picMkLst>
        </pc:picChg>
        <pc:picChg chg="mod">
          <ac:chgData name="Damien SELVA" userId="133961e4-541a-463d-adbe-40f16e9ecdbb" providerId="ADAL" clId="{CE5C3BDE-DDD2-4E73-B20F-3FFE9CBF5849}" dt="2024-05-14T15:39:44.309" v="221"/>
          <ac:picMkLst>
            <pc:docMk/>
            <pc:sldMk cId="2451542942" sldId="2147470279"/>
            <ac:picMk id="118" creationId="{CA3E2B6B-9EF6-4F13-13B6-866F7330B716}"/>
          </ac:picMkLst>
        </pc:picChg>
        <pc:picChg chg="mod">
          <ac:chgData name="Damien SELVA" userId="133961e4-541a-463d-adbe-40f16e9ecdbb" providerId="ADAL" clId="{CE5C3BDE-DDD2-4E73-B20F-3FFE9CBF5849}" dt="2024-05-14T15:39:44.309" v="221"/>
          <ac:picMkLst>
            <pc:docMk/>
            <pc:sldMk cId="2451542942" sldId="2147470279"/>
            <ac:picMk id="119" creationId="{1F2DB803-AD80-3D21-0D09-8379EAEE71AE}"/>
          </ac:picMkLst>
        </pc:picChg>
        <pc:picChg chg="mod">
          <ac:chgData name="Damien SELVA" userId="133961e4-541a-463d-adbe-40f16e9ecdbb" providerId="ADAL" clId="{CE5C3BDE-DDD2-4E73-B20F-3FFE9CBF5849}" dt="2024-05-14T15:39:44.309" v="221"/>
          <ac:picMkLst>
            <pc:docMk/>
            <pc:sldMk cId="2451542942" sldId="2147470279"/>
            <ac:picMk id="120" creationId="{7A729E1B-F9C3-114A-9FAE-88250DC50F85}"/>
          </ac:picMkLst>
        </pc:picChg>
        <pc:picChg chg="add mod">
          <ac:chgData name="Damien SELVA" userId="133961e4-541a-463d-adbe-40f16e9ecdbb" providerId="ADAL" clId="{CE5C3BDE-DDD2-4E73-B20F-3FFE9CBF5849}" dt="2024-05-14T15:39:44.309" v="221"/>
          <ac:picMkLst>
            <pc:docMk/>
            <pc:sldMk cId="2451542942" sldId="2147470279"/>
            <ac:picMk id="126" creationId="{D3AAE891-3B6F-E19C-2CAB-4CB591582B01}"/>
          </ac:picMkLst>
        </pc:picChg>
        <pc:picChg chg="add mod">
          <ac:chgData name="Damien SELVA" userId="133961e4-541a-463d-adbe-40f16e9ecdbb" providerId="ADAL" clId="{CE5C3BDE-DDD2-4E73-B20F-3FFE9CBF5849}" dt="2024-05-14T15:39:44.309" v="221"/>
          <ac:picMkLst>
            <pc:docMk/>
            <pc:sldMk cId="2451542942" sldId="2147470279"/>
            <ac:picMk id="131" creationId="{E2F445A2-F1CB-DDF6-EAB7-D4F8BF81B526}"/>
          </ac:picMkLst>
        </pc:picChg>
        <pc:picChg chg="add mod">
          <ac:chgData name="Damien SELVA" userId="133961e4-541a-463d-adbe-40f16e9ecdbb" providerId="ADAL" clId="{CE5C3BDE-DDD2-4E73-B20F-3FFE9CBF5849}" dt="2024-05-14T15:39:45.967" v="222"/>
          <ac:picMkLst>
            <pc:docMk/>
            <pc:sldMk cId="2451542942" sldId="2147470279"/>
            <ac:picMk id="142" creationId="{9D43D8F9-DCBC-3773-4AD0-5A3FD4E5DFE0}"/>
          </ac:picMkLst>
        </pc:picChg>
        <pc:picChg chg="add mod">
          <ac:chgData name="Damien SELVA" userId="133961e4-541a-463d-adbe-40f16e9ecdbb" providerId="ADAL" clId="{CE5C3BDE-DDD2-4E73-B20F-3FFE9CBF5849}" dt="2024-05-14T15:39:45.967" v="222"/>
          <ac:picMkLst>
            <pc:docMk/>
            <pc:sldMk cId="2451542942" sldId="2147470279"/>
            <ac:picMk id="144" creationId="{1E133E25-86D6-537C-DFB6-CCCBDC16D9EE}"/>
          </ac:picMkLst>
        </pc:picChg>
        <pc:picChg chg="add mod">
          <ac:chgData name="Damien SELVA" userId="133961e4-541a-463d-adbe-40f16e9ecdbb" providerId="ADAL" clId="{CE5C3BDE-DDD2-4E73-B20F-3FFE9CBF5849}" dt="2024-05-14T15:46:23.499" v="716" actId="1076"/>
          <ac:picMkLst>
            <pc:docMk/>
            <pc:sldMk cId="2451542942" sldId="2147470279"/>
            <ac:picMk id="150" creationId="{DC944E93-2992-B5C9-9E52-9CFC756C8063}"/>
          </ac:picMkLst>
        </pc:picChg>
        <pc:picChg chg="add mod">
          <ac:chgData name="Damien SELVA" userId="133961e4-541a-463d-adbe-40f16e9ecdbb" providerId="ADAL" clId="{CE5C3BDE-DDD2-4E73-B20F-3FFE9CBF5849}" dt="2024-05-14T15:46:23.499" v="716" actId="1076"/>
          <ac:picMkLst>
            <pc:docMk/>
            <pc:sldMk cId="2451542942" sldId="2147470279"/>
            <ac:picMk id="151" creationId="{966D4B63-0AC1-2A14-8049-D4A442B1A26F}"/>
          </ac:picMkLst>
        </pc:picChg>
        <pc:picChg chg="add mod">
          <ac:chgData name="Damien SELVA" userId="133961e4-541a-463d-adbe-40f16e9ecdbb" providerId="ADAL" clId="{CE5C3BDE-DDD2-4E73-B20F-3FFE9CBF5849}" dt="2024-05-14T15:46:23.499" v="716" actId="1076"/>
          <ac:picMkLst>
            <pc:docMk/>
            <pc:sldMk cId="2451542942" sldId="2147470279"/>
            <ac:picMk id="192" creationId="{A2614474-9EA3-48C9-E3AF-E93CA2DD7B08}"/>
          </ac:picMkLst>
        </pc:picChg>
        <pc:picChg chg="mod">
          <ac:chgData name="Damien SELVA" userId="133961e4-541a-463d-adbe-40f16e9ecdbb" providerId="ADAL" clId="{CE5C3BDE-DDD2-4E73-B20F-3FFE9CBF5849}" dt="2024-05-14T15:39:45.967" v="222"/>
          <ac:picMkLst>
            <pc:docMk/>
            <pc:sldMk cId="2451542942" sldId="2147470279"/>
            <ac:picMk id="195" creationId="{1B9A93E9-6060-C519-DC01-CD2DDCB160CD}"/>
          </ac:picMkLst>
        </pc:picChg>
        <pc:picChg chg="mod">
          <ac:chgData name="Damien SELVA" userId="133961e4-541a-463d-adbe-40f16e9ecdbb" providerId="ADAL" clId="{CE5C3BDE-DDD2-4E73-B20F-3FFE9CBF5849}" dt="2024-05-14T15:39:45.967" v="222"/>
          <ac:picMkLst>
            <pc:docMk/>
            <pc:sldMk cId="2451542942" sldId="2147470279"/>
            <ac:picMk id="201" creationId="{DA156CAD-F9AF-776D-6E6B-6DEF2D59154C}"/>
          </ac:picMkLst>
        </pc:picChg>
        <pc:picChg chg="mod">
          <ac:chgData name="Damien SELVA" userId="133961e4-541a-463d-adbe-40f16e9ecdbb" providerId="ADAL" clId="{CE5C3BDE-DDD2-4E73-B20F-3FFE9CBF5849}" dt="2024-05-14T15:39:45.967" v="222"/>
          <ac:picMkLst>
            <pc:docMk/>
            <pc:sldMk cId="2451542942" sldId="2147470279"/>
            <ac:picMk id="202" creationId="{D10AF85F-0311-67BA-CD18-CBD864876A78}"/>
          </ac:picMkLst>
        </pc:picChg>
        <pc:picChg chg="mod">
          <ac:chgData name="Damien SELVA" userId="133961e4-541a-463d-adbe-40f16e9ecdbb" providerId="ADAL" clId="{CE5C3BDE-DDD2-4E73-B20F-3FFE9CBF5849}" dt="2024-05-14T15:39:45.967" v="222"/>
          <ac:picMkLst>
            <pc:docMk/>
            <pc:sldMk cId="2451542942" sldId="2147470279"/>
            <ac:picMk id="203" creationId="{48E659D7-FA9F-93E2-5E1F-3A68EC810858}"/>
          </ac:picMkLst>
        </pc:picChg>
        <pc:picChg chg="mod">
          <ac:chgData name="Damien SELVA" userId="133961e4-541a-463d-adbe-40f16e9ecdbb" providerId="ADAL" clId="{CE5C3BDE-DDD2-4E73-B20F-3FFE9CBF5849}" dt="2024-05-14T15:39:45.967" v="222"/>
          <ac:picMkLst>
            <pc:docMk/>
            <pc:sldMk cId="2451542942" sldId="2147470279"/>
            <ac:picMk id="204" creationId="{6B7EB592-0844-CB7F-C730-CEB5A6743084}"/>
          </ac:picMkLst>
        </pc:picChg>
        <pc:picChg chg="add mod">
          <ac:chgData name="Damien SELVA" userId="133961e4-541a-463d-adbe-40f16e9ecdbb" providerId="ADAL" clId="{CE5C3BDE-DDD2-4E73-B20F-3FFE9CBF5849}" dt="2024-05-14T15:39:45.967" v="222"/>
          <ac:picMkLst>
            <pc:docMk/>
            <pc:sldMk cId="2451542942" sldId="2147470279"/>
            <ac:picMk id="210" creationId="{F64F005A-C4DA-BFE9-4CCF-7FFD3A209872}"/>
          </ac:picMkLst>
        </pc:picChg>
        <pc:picChg chg="add del mod">
          <ac:chgData name="Damien SELVA" userId="133961e4-541a-463d-adbe-40f16e9ecdbb" providerId="ADAL" clId="{CE5C3BDE-DDD2-4E73-B20F-3FFE9CBF5849}" dt="2024-05-14T15:44:40.217" v="556" actId="478"/>
          <ac:picMkLst>
            <pc:docMk/>
            <pc:sldMk cId="2451542942" sldId="2147470279"/>
            <ac:picMk id="215" creationId="{F633F426-BE73-0DF4-042D-30BCF0DBA35B}"/>
          </ac:picMkLst>
        </pc:picChg>
        <pc:cxnChg chg="del">
          <ac:chgData name="Damien SELVA" userId="133961e4-541a-463d-adbe-40f16e9ecdbb" providerId="ADAL" clId="{CE5C3BDE-DDD2-4E73-B20F-3FFE9CBF5849}" dt="2024-05-14T15:38:13.914" v="5" actId="478"/>
          <ac:cxnSpMkLst>
            <pc:docMk/>
            <pc:sldMk cId="2451542942" sldId="2147470279"/>
            <ac:cxnSpMk id="8" creationId="{94CD976F-C5F7-13BD-57CD-CC3A0B9B204E}"/>
          </ac:cxnSpMkLst>
        </pc:cxnChg>
        <pc:cxnChg chg="del">
          <ac:chgData name="Damien SELVA" userId="133961e4-541a-463d-adbe-40f16e9ecdbb" providerId="ADAL" clId="{CE5C3BDE-DDD2-4E73-B20F-3FFE9CBF5849}" dt="2024-05-14T15:38:13.914" v="5" actId="478"/>
          <ac:cxnSpMkLst>
            <pc:docMk/>
            <pc:sldMk cId="2451542942" sldId="2147470279"/>
            <ac:cxnSpMk id="63" creationId="{456C7907-FDCA-627F-89E3-09864CB007CA}"/>
          </ac:cxnSpMkLst>
        </pc:cxnChg>
        <pc:cxnChg chg="add mod">
          <ac:chgData name="Damien SELVA" userId="133961e4-541a-463d-adbe-40f16e9ecdbb" providerId="ADAL" clId="{CE5C3BDE-DDD2-4E73-B20F-3FFE9CBF5849}" dt="2024-05-14T15:39:44.309" v="221"/>
          <ac:cxnSpMkLst>
            <pc:docMk/>
            <pc:sldMk cId="2451542942" sldId="2147470279"/>
            <ac:cxnSpMk id="121" creationId="{4D603F7F-AFC0-9AF2-D50F-DD80F129D81A}"/>
          </ac:cxnSpMkLst>
        </pc:cxnChg>
        <pc:cxnChg chg="add del mod">
          <ac:chgData name="Damien SELVA" userId="133961e4-541a-463d-adbe-40f16e9ecdbb" providerId="ADAL" clId="{CE5C3BDE-DDD2-4E73-B20F-3FFE9CBF5849}" dt="2024-05-14T15:40:01.861" v="225" actId="478"/>
          <ac:cxnSpMkLst>
            <pc:docMk/>
            <pc:sldMk cId="2451542942" sldId="2147470279"/>
            <ac:cxnSpMk id="205" creationId="{89A4A07F-B919-9060-0763-37B1566C6FD6}"/>
          </ac:cxnSpMkLst>
        </pc:cxn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esantegouv.sharepoint.com/sites/GED-Calypso/espace-projets/Espace%20Projet%20CoMET/2.%20Convergence/5.%20Cartographie%20des%20services/3.%20Publication/Imports/CoMET_Cartographie_Fichier%20d'import%20Web%20g&#233;n&#233;ral_V08.04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058-4D84-B053-A4EB629FB99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058-4D84-B053-A4EB629FB99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058-4D84-B053-A4EB629FB998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058-4D84-B053-A4EB629FB998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A058-4D84-B053-A4EB629FB998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A058-4D84-B053-A4EB629FB998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A058-4D84-B053-A4EB629FB998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A058-4D84-B053-A4EB629FB998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A058-4D84-B053-A4EB629FB998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A058-4D84-B053-A4EB629FB998}"/>
              </c:ext>
            </c:extLst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A058-4D84-B053-A4EB629FB998}"/>
              </c:ext>
            </c:extLst>
          </c:dPt>
          <c:dPt>
            <c:idx val="11"/>
            <c:bubble3D val="0"/>
            <c:spPr>
              <a:solidFill>
                <a:schemeClr val="accent6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A058-4D84-B053-A4EB629FB998}"/>
              </c:ext>
            </c:extLst>
          </c:dPt>
          <c:dPt>
            <c:idx val="12"/>
            <c:bubble3D val="0"/>
            <c:spPr>
              <a:solidFill>
                <a:schemeClr val="accent1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9-A058-4D84-B053-A4EB629FB998}"/>
              </c:ext>
            </c:extLst>
          </c:dPt>
          <c:dLbls>
            <c:dLbl>
              <c:idx val="0"/>
              <c:layout>
                <c:manualLayout>
                  <c:x val="7.3507729259900817E-2"/>
                  <c:y val="0.12448129343261577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380866499177232"/>
                      <c:h val="0.13844277133104546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A058-4D84-B053-A4EB629FB998}"/>
                </c:ext>
              </c:extLst>
            </c:dLbl>
            <c:dLbl>
              <c:idx val="1"/>
              <c:layout>
                <c:manualLayout>
                  <c:x val="3.6793150548954309E-2"/>
                  <c:y val="2.2952391733089637E-3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058-4D84-B053-A4EB629FB998}"/>
                </c:ext>
              </c:extLst>
            </c:dLbl>
            <c:dLbl>
              <c:idx val="2"/>
              <c:layout>
                <c:manualLayout>
                  <c:x val="-2.7043671681563162E-2"/>
                  <c:y val="1.4549092257755069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058-4D84-B053-A4EB629FB998}"/>
                </c:ext>
              </c:extLst>
            </c:dLbl>
            <c:dLbl>
              <c:idx val="3"/>
              <c:layout>
                <c:manualLayout>
                  <c:x val="2.8489980692578596E-3"/>
                  <c:y val="-4.5173141468272046E-3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A058-4D84-B053-A4EB629FB998}"/>
                </c:ext>
              </c:extLst>
            </c:dLbl>
            <c:dLbl>
              <c:idx val="4"/>
              <c:layout>
                <c:manualLayout>
                  <c:x val="-3.9638234007066033E-3"/>
                  <c:y val="-7.6523310850296847E-4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A058-4D84-B053-A4EB629FB998}"/>
                </c:ext>
              </c:extLst>
            </c:dLbl>
            <c:dLbl>
              <c:idx val="5"/>
              <c:layout>
                <c:manualLayout>
                  <c:x val="-3.754056166281497E-2"/>
                  <c:y val="9.8678258820887599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A058-4D84-B053-A4EB629FB998}"/>
                </c:ext>
              </c:extLst>
            </c:dLbl>
            <c:dLbl>
              <c:idx val="6"/>
              <c:layout>
                <c:manualLayout>
                  <c:x val="-9.6201009690060665E-2"/>
                  <c:y val="0.10816429642268471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A058-4D84-B053-A4EB629FB998}"/>
                </c:ext>
              </c:extLst>
            </c:dLbl>
            <c:dLbl>
              <c:idx val="7"/>
              <c:layout>
                <c:manualLayout>
                  <c:x val="-0.11240176772654764"/>
                  <c:y val="0.12611023222040924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A058-4D84-B053-A4EB629FB998}"/>
                </c:ext>
              </c:extLst>
            </c:dLbl>
            <c:dLbl>
              <c:idx val="8"/>
              <c:layout>
                <c:manualLayout>
                  <c:x val="-0.16998723557151227"/>
                  <c:y val="0.12239910472787979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A058-4D84-B053-A4EB629FB998}"/>
                </c:ext>
              </c:extLst>
            </c:dLbl>
            <c:dLbl>
              <c:idx val="9"/>
              <c:layout>
                <c:manualLayout>
                  <c:x val="-0.17095554260005677"/>
                  <c:y val="5.2254883825374058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900" b="0" i="0" u="none" strike="noStrike" kern="1200" baseline="0">
                      <a:ln>
                        <a:noFill/>
                      </a:ln>
                      <a:solidFill>
                        <a:srgbClr val="0070C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292831088723265"/>
                      <c:h val="0.1981530410998741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3-A058-4D84-B053-A4EB629FB998}"/>
                </c:ext>
              </c:extLst>
            </c:dLbl>
            <c:dLbl>
              <c:idx val="10"/>
              <c:layout>
                <c:manualLayout>
                  <c:x val="4.8611106680965015E-2"/>
                  <c:y val="-1.9335185327560501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913192173994589"/>
                      <c:h val="7.681546599769782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5-A058-4D84-B053-A4EB629FB998}"/>
                </c:ext>
              </c:extLst>
            </c:dLbl>
            <c:dLbl>
              <c:idx val="11"/>
              <c:layout>
                <c:manualLayout>
                  <c:x val="0.25326413970600614"/>
                  <c:y val="5.1209870038982407E-3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959401432687965"/>
                      <c:h val="0.1280257766628297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7-A058-4D84-B053-A4EB629FB998}"/>
                </c:ext>
              </c:extLst>
            </c:dLbl>
            <c:dLbl>
              <c:idx val="12"/>
              <c:layout>
                <c:manualLayout>
                  <c:x val="0.25920415955395787"/>
                  <c:y val="6.868645873309053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900" b="0" i="0" u="none" strike="noStrike" kern="1200" baseline="0">
                      <a:ln>
                        <a:noFill/>
                      </a:ln>
                      <a:solidFill>
                        <a:srgbClr val="0070C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420514343719516"/>
                      <c:h val="0.13442492593735686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9-A058-4D84-B053-A4EB629FB99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ln>
                      <a:noFill/>
                    </a:ln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[CoMET_Cartographie_Fichier d''import Web général_V08.04.xlsx]TCD'!$F$4:$F$16</c:f>
              <c:strCache>
                <c:ptCount val="13"/>
                <c:pt idx="0">
                  <c:v>Coordination</c:v>
                </c:pt>
                <c:pt idx="1">
                  <c:v>Télésanté</c:v>
                </c:pt>
                <c:pt idx="2">
                  <c:v>Echange</c:v>
                </c:pt>
                <c:pt idx="3">
                  <c:v>Référentiels</c:v>
                </c:pt>
                <c:pt idx="4">
                  <c:v>Orientation</c:v>
                </c:pt>
                <c:pt idx="5">
                  <c:v>Partage</c:v>
                </c:pt>
                <c:pt idx="6">
                  <c:v>Portails</c:v>
                </c:pt>
                <c:pt idx="7">
                  <c:v>Régulation</c:v>
                </c:pt>
                <c:pt idx="8">
                  <c:v>Ressources techniques</c:v>
                </c:pt>
                <c:pt idx="9">
                  <c:v>Information et formation</c:v>
                </c:pt>
                <c:pt idx="10">
                  <c:v>Pilotage métier</c:v>
                </c:pt>
                <c:pt idx="11">
                  <c:v>Production de soin</c:v>
                </c:pt>
                <c:pt idx="12">
                  <c:v>Accès professionnels</c:v>
                </c:pt>
              </c:strCache>
            </c:strRef>
          </c:cat>
          <c:val>
            <c:numRef>
              <c:f>'[CoMET_Cartographie_Fichier d''import Web général_V08.04.xlsx]TCD'!$G$4:$G$16</c:f>
              <c:numCache>
                <c:formatCode>General</c:formatCode>
                <c:ptCount val="13"/>
                <c:pt idx="0">
                  <c:v>57</c:v>
                </c:pt>
                <c:pt idx="1">
                  <c:v>29</c:v>
                </c:pt>
                <c:pt idx="2">
                  <c:v>28</c:v>
                </c:pt>
                <c:pt idx="3">
                  <c:v>28</c:v>
                </c:pt>
                <c:pt idx="4">
                  <c:v>24</c:v>
                </c:pt>
                <c:pt idx="5">
                  <c:v>16</c:v>
                </c:pt>
                <c:pt idx="6">
                  <c:v>12</c:v>
                </c:pt>
                <c:pt idx="7">
                  <c:v>12</c:v>
                </c:pt>
                <c:pt idx="8">
                  <c:v>9</c:v>
                </c:pt>
                <c:pt idx="9">
                  <c:v>6</c:v>
                </c:pt>
                <c:pt idx="10">
                  <c:v>5</c:v>
                </c:pt>
                <c:pt idx="11">
                  <c:v>5</c:v>
                </c:pt>
                <c:pt idx="12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A-A058-4D84-B053-A4EB629FB9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49CB5662-9B6D-22EB-F13E-3934D9F8EB9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41ABE56D-FCFC-0FC1-4CC5-CD0BACCEC6A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4615209-D54A-4A7C-80A0-4CC8A47DEC6F}" type="datetimeFigureOut">
              <a:rPr lang="fr-FR" smtClean="0"/>
              <a:t>14/05/2024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8DE63864-6E5E-5E21-DA26-0C2D5876BAC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C046F7FB-465A-B6EA-81F7-47002577AA5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0E16E4B-7660-45E2-AD57-81ABBFDB0365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2995352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456A99-9432-41B4-94D8-7247EF09EB32}" type="datetimeFigureOut">
              <a:rPr lang="fr-FR" smtClean="0"/>
              <a:t>14/05/2024</a:t>
            </a:fld>
            <a:endParaRPr lang="fr-FR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924FE7-3D6D-4C18-B3F0-6F8F9244E41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587634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Wingdings" panose="05000000000000000000" pitchFamily="2" charset="2"/>
              <a:buNone/>
            </a:pP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3599C48-8A9F-4257-828B-FB74267884A8}" type="slidenum">
              <a:rPr lang="fr-FR" smtClean="0"/>
              <a:pPr>
                <a:defRPr/>
              </a:pPr>
              <a:t>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4753583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Wingdings" panose="05000000000000000000" pitchFamily="2" charset="2"/>
              <a:buNone/>
            </a:pP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3599C48-8A9F-4257-828B-FB74267884A8}" type="slidenum">
              <a:rPr lang="fr-FR" smtClean="0"/>
              <a:pPr>
                <a:defRPr/>
              </a:pPr>
              <a:t>1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746059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924FE7-3D6D-4C18-B3F0-6F8F9244E41A}" type="slidenum">
              <a:rPr lang="fr-FR" smtClean="0"/>
              <a:t>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774840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Wingdings" panose="05000000000000000000" pitchFamily="2" charset="2"/>
              <a:buNone/>
            </a:pP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3599C48-8A9F-4257-828B-FB74267884A8}" type="slidenum">
              <a:rPr lang="fr-FR" smtClean="0"/>
              <a:pPr>
                <a:defRPr/>
              </a:pPr>
              <a:t>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24424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Wingdings" panose="05000000000000000000" pitchFamily="2" charset="2"/>
              <a:buNone/>
            </a:pP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3599C48-8A9F-4257-828B-FB74267884A8}" type="slidenum">
              <a:rPr lang="fr-FR" smtClean="0"/>
              <a:pPr>
                <a:defRPr/>
              </a:pPr>
              <a:t>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65549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Wingdings" panose="05000000000000000000" pitchFamily="2" charset="2"/>
              <a:buNone/>
            </a:pP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3599C48-8A9F-4257-828B-FB74267884A8}" type="slidenum">
              <a:rPr lang="fr-FR" smtClean="0"/>
              <a:pPr>
                <a:defRPr/>
              </a:pPr>
              <a:t>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010726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3599C48-8A9F-4257-828B-FB74267884A8}" type="slidenum">
              <a:rPr lang="fr-FR" smtClean="0"/>
              <a:pPr>
                <a:defRPr/>
              </a:pPr>
              <a:t>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212127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8F47C1-0641-4731-A0C8-299D02181240}" type="slidenum">
              <a:rPr lang="fr-FR" smtClean="0"/>
              <a:t>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3699770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Wingdings" panose="05000000000000000000" pitchFamily="2" charset="2"/>
              <a:buNone/>
            </a:pP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3599C48-8A9F-4257-828B-FB74267884A8}" type="slidenum">
              <a:rPr lang="fr-FR" smtClean="0"/>
              <a:pPr>
                <a:defRPr/>
              </a:pPr>
              <a:t>1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4114467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Wingdings" panose="05000000000000000000" pitchFamily="2" charset="2"/>
              <a:buNone/>
            </a:pP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3599C48-8A9F-4257-828B-FB74267884A8}" type="slidenum">
              <a:rPr lang="fr-FR" smtClean="0"/>
              <a:pPr>
                <a:defRPr/>
              </a:pPr>
              <a:t>1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988297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0.png"/><Relationship Id="rId4" Type="http://schemas.openxmlformats.org/officeDocument/2006/relationships/image" Target="../media/image16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jpeg"/><Relationship Id="rId4" Type="http://schemas.openxmlformats.org/officeDocument/2006/relationships/image" Target="../media/image6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sque Couv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53B252A1-267F-6447-A4D6-DC68052065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84A0BC-939D-A84F-A7C4-D217642CCECB}" type="datetimeFigureOut">
              <a:rPr lang="fr-FR" smtClean="0"/>
              <a:t>14/05/2024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FCE4F72E-C3E4-AA41-BFE9-990FBADAAD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EA6251A-97C0-B24C-B593-41A3B8EBDA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933F58-996B-6244-9794-480B52F9F77B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21934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836712"/>
            <a:ext cx="12192000" cy="192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pic>
        <p:nvPicPr>
          <p:cNvPr id="5" name="Image 4" descr="Une image contenant personne, intérieur, tenant, alimentation&#10;&#10;Description générée automatiquement">
            <a:extLst>
              <a:ext uri="{FF2B5EF4-FFF2-40B4-BE49-F238E27FC236}">
                <a16:creationId xmlns:a16="http://schemas.microsoft.com/office/drawing/2014/main" id="{DCE54B6C-D7B7-064E-80CC-C434FFA6A49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62520" y="3007"/>
            <a:ext cx="10029481" cy="6854995"/>
          </a:xfrm>
          <a:prstGeom prst="rect">
            <a:avLst/>
          </a:prstGeom>
        </p:spPr>
      </p:pic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A4A0B2A-58BC-1D4D-8883-191DA713D2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24717" y="1221317"/>
            <a:ext cx="3647347" cy="2015067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sz="4267" kern="800" cap="none" baseline="0">
                <a:solidFill>
                  <a:schemeClr val="bg1"/>
                </a:solidFill>
              </a:defRPr>
            </a:lvl1pPr>
            <a:lvl2pPr marL="578986" indent="0">
              <a:lnSpc>
                <a:spcPct val="80000"/>
              </a:lnSpc>
              <a:buNone/>
              <a:defRPr sz="4267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Titre principal de la slide</a:t>
            </a:r>
          </a:p>
          <a:p>
            <a:pPr lvl="1"/>
            <a:endParaRPr lang="fr-FR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05C05DFA-F720-FF4C-A4AA-91C4E66A310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24717" y="3236384"/>
            <a:ext cx="3935379" cy="2497667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18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43339" y="6333323"/>
            <a:ext cx="383117" cy="365125"/>
          </a:xfrm>
        </p:spPr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Rectangle 8"/>
          <p:cNvSpPr/>
          <p:nvPr userDrawn="1"/>
        </p:nvSpPr>
        <p:spPr>
          <a:xfrm>
            <a:off x="0" y="836712"/>
            <a:ext cx="12192000" cy="192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pic>
        <p:nvPicPr>
          <p:cNvPr id="10" name="Image 9" descr="Une image contenant personne, intérieur, tenant, alimentation&#10;&#10;Description générée automatiquement">
            <a:extLst>
              <a:ext uri="{FF2B5EF4-FFF2-40B4-BE49-F238E27FC236}">
                <a16:creationId xmlns:a16="http://schemas.microsoft.com/office/drawing/2014/main" id="{DCE54B6C-D7B7-064E-80CC-C434FFA6A4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62520" y="3007"/>
            <a:ext cx="10029481" cy="6854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8945587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Une image contenant personne, intérieur, homme, table&#10;&#10;Description générée automatiquement">
            <a:extLst>
              <a:ext uri="{FF2B5EF4-FFF2-40B4-BE49-F238E27FC236}">
                <a16:creationId xmlns:a16="http://schemas.microsoft.com/office/drawing/2014/main" id="{6FB58E74-65F0-5A41-B2A3-C683EB81BBF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4277" y="-18596"/>
            <a:ext cx="12253577" cy="6895191"/>
          </a:xfrm>
          <a:prstGeom prst="rect">
            <a:avLst/>
          </a:prstGeom>
        </p:spPr>
      </p:pic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C0E49024-B637-B846-AD7A-074C32D97E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32101" y="1316567"/>
            <a:ext cx="3647943" cy="2495551"/>
          </a:xfrm>
          <a:prstGeom prst="rect">
            <a:avLst/>
          </a:prstGeom>
        </p:spPr>
        <p:txBody>
          <a:bodyPr/>
          <a:lstStyle>
            <a:lvl1pPr>
              <a:defRPr sz="3733" kern="800" cap="all" baseline="0"/>
            </a:lvl1pPr>
            <a:lvl2pPr marL="578986" indent="0">
              <a:buNone/>
              <a:defRPr sz="4267"/>
            </a:lvl2pPr>
          </a:lstStyle>
          <a:p>
            <a:pPr lvl="0"/>
            <a:r>
              <a:rPr lang="fr-FR"/>
              <a:t>Titre de la slide</a:t>
            </a:r>
          </a:p>
          <a:p>
            <a:pPr lvl="1"/>
            <a:endParaRPr lang="fr-FR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F9933515-A54B-C648-9452-ED438F800E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672065" y="1316567"/>
            <a:ext cx="4610100" cy="2495551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1867" b="0"/>
            </a:lvl1pPr>
          </a:lstStyle>
          <a:p>
            <a:pPr lvl="0"/>
            <a:r>
              <a:rPr lang="fr-FR"/>
              <a:t>Texte</a:t>
            </a:r>
          </a:p>
        </p:txBody>
      </p:sp>
      <p:pic>
        <p:nvPicPr>
          <p:cNvPr id="6" name="Image 5" descr="Une image contenant personne, intérieur, homme, table&#10;&#10;Description générée automatiquement">
            <a:extLst>
              <a:ext uri="{FF2B5EF4-FFF2-40B4-BE49-F238E27FC236}">
                <a16:creationId xmlns:a16="http://schemas.microsoft.com/office/drawing/2014/main" id="{6FB58E74-65F0-5A41-B2A3-C683EB81BB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4277" y="-18596"/>
            <a:ext cx="12253577" cy="6895191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781" y="265620"/>
            <a:ext cx="1152696" cy="900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1269575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solidFill>
                  <a:srgbClr val="575757"/>
                </a:solidFill>
              </a:defRPr>
            </a:lvl1pPr>
          </a:lstStyle>
          <a:p>
            <a:fld id="{646E7B68-C406-4B5C-B79D-A1CDE10CB85D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sz="800"/>
            </a:lvl1pPr>
          </a:lstStyle>
          <a:p>
            <a:r>
              <a:rPr lang="fr-FR" dirty="0">
                <a:latin typeface="Arial"/>
                <a:ea typeface="+mn-ea"/>
              </a:rPr>
              <a:t>CoMET | COPIL</a:t>
            </a:r>
          </a:p>
        </p:txBody>
      </p:sp>
    </p:spTree>
    <p:extLst>
      <p:ext uri="{BB962C8B-B14F-4D97-AF65-F5344CB8AC3E}">
        <p14:creationId xmlns:p14="http://schemas.microsoft.com/office/powerpoint/2010/main" val="36165389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5796" y="6492875"/>
            <a:ext cx="383117" cy="365125"/>
          </a:xfrm>
        </p:spPr>
        <p:txBody>
          <a:bodyPr/>
          <a:lstStyle>
            <a:lvl1pPr>
              <a:defRPr sz="800">
                <a:solidFill>
                  <a:srgbClr val="575757"/>
                </a:solidFill>
              </a:defRPr>
            </a:lvl1pPr>
          </a:lstStyle>
          <a:p>
            <a:fld id="{646E7B68-C406-4B5C-B79D-A1CDE10CB85D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9"/>
          </p:nvPr>
        </p:nvSpPr>
        <p:spPr>
          <a:xfrm>
            <a:off x="527461" y="6492875"/>
            <a:ext cx="9235315" cy="365125"/>
          </a:xfrm>
        </p:spPr>
        <p:txBody>
          <a:bodyPr/>
          <a:lstStyle>
            <a:lvl1pPr>
              <a:defRPr sz="800"/>
            </a:lvl1pPr>
          </a:lstStyle>
          <a:p>
            <a:r>
              <a:rPr lang="fr-FR" dirty="0">
                <a:latin typeface="Arial"/>
                <a:ea typeface="+mn-ea"/>
              </a:rPr>
              <a:t>CoMET | COPIL</a:t>
            </a:r>
          </a:p>
        </p:txBody>
      </p:sp>
      <p:sp>
        <p:nvSpPr>
          <p:cNvPr id="7" name="Espace réservé du texte 2"/>
          <p:cNvSpPr>
            <a:spLocks noGrp="1"/>
          </p:cNvSpPr>
          <p:nvPr>
            <p:ph idx="1"/>
          </p:nvPr>
        </p:nvSpPr>
        <p:spPr>
          <a:xfrm>
            <a:off x="1103445" y="1124744"/>
            <a:ext cx="10753195" cy="49925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4pPr>
              <a:defRPr sz="1867"/>
            </a:lvl4pPr>
            <a:lvl5pPr>
              <a:defRPr sz="16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kumimoji="0" lang="fr-FR" sz="1867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0085812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1103445" y="116632"/>
            <a:ext cx="10752123" cy="72000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xfrm>
            <a:off x="143339" y="6492875"/>
            <a:ext cx="383117" cy="365125"/>
          </a:xfrm>
        </p:spPr>
        <p:txBody>
          <a:bodyPr/>
          <a:lstStyle>
            <a:lvl1pPr>
              <a:defRPr sz="800"/>
            </a:lvl1pPr>
          </a:lstStyle>
          <a:p>
            <a:fld id="{646E7B68-C406-4B5C-B79D-A1CDE10CB85D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6"/>
          </p:nvPr>
        </p:nvSpPr>
        <p:spPr>
          <a:xfrm>
            <a:off x="1103446" y="1124744"/>
            <a:ext cx="5185833" cy="4992555"/>
          </a:xfrm>
        </p:spPr>
        <p:txBody>
          <a:bodyPr>
            <a:noAutofit/>
          </a:bodyPr>
          <a:lstStyle>
            <a:lvl1pPr marL="0" indent="0">
              <a:buNone/>
              <a:defRPr/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rgbClr val="575757"/>
                </a:solidFill>
              </a:defRPr>
            </a:lvl3pPr>
            <a:lvl4pPr>
              <a:defRPr sz="1867">
                <a:solidFill>
                  <a:srgbClr val="575757"/>
                </a:solidFill>
              </a:defRPr>
            </a:lvl4pPr>
            <a:lvl5pPr>
              <a:defRPr sz="1600">
                <a:solidFill>
                  <a:srgbClr val="575757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kumimoji="0" lang="fr-FR" sz="1867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Espace réservé du contenu 12"/>
          <p:cNvSpPr>
            <a:spLocks noGrp="1"/>
          </p:cNvSpPr>
          <p:nvPr>
            <p:ph sz="quarter" idx="17"/>
          </p:nvPr>
        </p:nvSpPr>
        <p:spPr>
          <a:xfrm>
            <a:off x="6669736" y="1124744"/>
            <a:ext cx="5185833" cy="4992555"/>
          </a:xfrm>
        </p:spPr>
        <p:txBody>
          <a:bodyPr/>
          <a:lstStyle>
            <a:lvl1pPr marL="0" indent="0">
              <a:buNone/>
              <a:defRPr/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rgbClr val="575757"/>
                </a:solidFill>
              </a:defRPr>
            </a:lvl3pPr>
            <a:lvl4pPr>
              <a:defRPr sz="1867">
                <a:solidFill>
                  <a:srgbClr val="575757"/>
                </a:solidFill>
              </a:defRPr>
            </a:lvl4pPr>
            <a:lvl5pPr>
              <a:defRPr sz="1600">
                <a:solidFill>
                  <a:srgbClr val="575757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kumimoji="0" lang="fr-FR" sz="1867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8"/>
          </p:nvPr>
        </p:nvSpPr>
        <p:spPr>
          <a:xfrm>
            <a:off x="545004" y="6492875"/>
            <a:ext cx="9235315" cy="365125"/>
          </a:xfrm>
        </p:spPr>
        <p:txBody>
          <a:bodyPr/>
          <a:lstStyle>
            <a:lvl1pPr>
              <a:defRPr sz="800"/>
            </a:lvl1pPr>
          </a:lstStyle>
          <a:p>
            <a:r>
              <a:rPr lang="fr-FR" dirty="0">
                <a:latin typeface="Arial"/>
                <a:ea typeface="+mn-ea"/>
              </a:rPr>
              <a:t>CoMET | COPIL</a:t>
            </a:r>
          </a:p>
        </p:txBody>
      </p:sp>
    </p:spTree>
    <p:extLst>
      <p:ext uri="{BB962C8B-B14F-4D97-AF65-F5344CB8AC3E}">
        <p14:creationId xmlns:p14="http://schemas.microsoft.com/office/powerpoint/2010/main" val="4077334048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ge de 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-2728"/>
            <a:ext cx="12192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sp>
        <p:nvSpPr>
          <p:cNvPr id="7" name="Rectangle 6"/>
          <p:cNvSpPr/>
          <p:nvPr/>
        </p:nvSpPr>
        <p:spPr>
          <a:xfrm>
            <a:off x="0" y="6597352"/>
            <a:ext cx="1219200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pic>
        <p:nvPicPr>
          <p:cNvPr id="15" name="Image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715" y="296541"/>
            <a:ext cx="1815188" cy="6264921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-2728"/>
            <a:ext cx="12192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0" y="6597352"/>
            <a:ext cx="1219200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pic>
        <p:nvPicPr>
          <p:cNvPr id="20" name="Image 1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715" y="296541"/>
            <a:ext cx="1815188" cy="6264921"/>
          </a:xfrm>
          <a:prstGeom prst="rect">
            <a:avLst/>
          </a:prstGeom>
        </p:spPr>
      </p:pic>
      <p:grpSp>
        <p:nvGrpSpPr>
          <p:cNvPr id="22" name="Groupe 21"/>
          <p:cNvGrpSpPr/>
          <p:nvPr userDrawn="1"/>
        </p:nvGrpSpPr>
        <p:grpSpPr>
          <a:xfrm>
            <a:off x="6406214" y="1682636"/>
            <a:ext cx="4471897" cy="3372488"/>
            <a:chOff x="4804660" y="1261977"/>
            <a:chExt cx="3353923" cy="2529366"/>
          </a:xfrm>
        </p:grpSpPr>
        <p:sp>
          <p:nvSpPr>
            <p:cNvPr id="23" name="ZoneTexte 22"/>
            <p:cNvSpPr txBox="1"/>
            <p:nvPr/>
          </p:nvSpPr>
          <p:spPr>
            <a:xfrm>
              <a:off x="4818086" y="1261977"/>
              <a:ext cx="3240360" cy="2529366"/>
            </a:xfrm>
            <a:prstGeom prst="rect">
              <a:avLst/>
            </a:prstGeom>
            <a:noFill/>
          </p:spPr>
          <p:txBody>
            <a:bodyPr wrap="square" lIns="72000" tIns="108000" rIns="72000" bIns="108000" rtlCol="0" anchor="t" anchorCtr="0">
              <a:normAutofit/>
            </a:bodyPr>
            <a:lstStyle/>
            <a:p>
              <a:pPr algn="l"/>
              <a:r>
                <a:rPr lang="fr-FR" sz="2667" b="1" dirty="0">
                  <a:solidFill>
                    <a:srgbClr val="575757"/>
                  </a:solidFill>
                </a:rPr>
                <a:t>esante.gouv.fr</a:t>
              </a:r>
            </a:p>
            <a:p>
              <a:pPr algn="l"/>
              <a:r>
                <a:rPr lang="fr-FR" sz="2000" dirty="0">
                  <a:solidFill>
                    <a:srgbClr val="575757"/>
                  </a:solidFill>
                </a:rPr>
                <a:t>Le portail</a:t>
              </a:r>
              <a:r>
                <a:rPr lang="fr-FR" sz="2000" baseline="0" dirty="0">
                  <a:solidFill>
                    <a:srgbClr val="575757"/>
                  </a:solidFill>
                </a:rPr>
                <a:t> pour accéder à l’ensemble des services et produits de l’agence du numérique en santé et s’informer sur l’actualité de la e-santé. </a:t>
              </a:r>
            </a:p>
            <a:p>
              <a:pPr algn="ctr"/>
              <a:endParaRPr lang="fr-FR" sz="2000" dirty="0">
                <a:solidFill>
                  <a:srgbClr val="575757"/>
                </a:solidFill>
              </a:endParaRPr>
            </a:p>
          </p:txBody>
        </p:sp>
        <p:pic>
          <p:nvPicPr>
            <p:cNvPr id="24" name="Picture 2" descr="Y:\Interne\Communication\Communication_2019\Crea_graphiques\Pictos\Picto_OK\Twitter_Logo_Blue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04660" y="2817758"/>
              <a:ext cx="422086" cy="4220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3" descr="Y:\Interne\Communication\Communication_2019\Crea_graphiques\Pictos\Picto_OK\LINKEDIN@2x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89703" y="3271808"/>
              <a:ext cx="252000" cy="25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" name="Picture 2" descr="Y:\Interne\Communication\Communication_2019\Crea_graphiques\Pictos\Picto_OK\Twitter_Logo_Blue.png"/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04660" y="2817758"/>
              <a:ext cx="422086" cy="4220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3" descr="Y:\Interne\Communication\Communication_2019\Crea_graphiques\Pictos\Picto_OK\LINKEDIN@2x.png"/>
            <p:cNvPicPr>
              <a:picLocks noChangeAspect="1" noChangeArrowheads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89703" y="3271808"/>
              <a:ext cx="252000" cy="25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" name="ZoneTexte 27"/>
            <p:cNvSpPr txBox="1"/>
            <p:nvPr userDrawn="1"/>
          </p:nvSpPr>
          <p:spPr>
            <a:xfrm>
              <a:off x="5220072" y="2859782"/>
              <a:ext cx="2938511" cy="649472"/>
            </a:xfrm>
            <a:prstGeom prst="rect">
              <a:avLst/>
            </a:prstGeom>
            <a:noFill/>
          </p:spPr>
          <p:txBody>
            <a:bodyPr wrap="square" lIns="72000" tIns="108000" rIns="72000" bIns="108000" rtlCol="0" anchor="t" anchorCtr="0">
              <a:noAutofit/>
            </a:bodyPr>
            <a:lstStyle/>
            <a:p>
              <a:pPr algn="l">
                <a:spcAft>
                  <a:spcPts val="800"/>
                </a:spcAft>
              </a:pPr>
              <a:r>
                <a:rPr lang="fr-FR" sz="1200" b="0" dirty="0">
                  <a:solidFill>
                    <a:srgbClr val="575757"/>
                  </a:solidFill>
                </a:rPr>
                <a:t>@esante_gouv_fr</a:t>
              </a:r>
            </a:p>
            <a:p>
              <a:pPr algn="l"/>
              <a:endParaRPr lang="fr-FR" sz="400" b="0" dirty="0">
                <a:solidFill>
                  <a:srgbClr val="575757"/>
                </a:solidFill>
              </a:endParaRPr>
            </a:p>
            <a:p>
              <a:pPr algn="l"/>
              <a:endParaRPr lang="fr-FR" sz="667" b="0" dirty="0">
                <a:solidFill>
                  <a:srgbClr val="575757"/>
                </a:solidFill>
              </a:endParaRPr>
            </a:p>
            <a:p>
              <a:pPr algn="l"/>
              <a:r>
                <a:rPr lang="fr-FR" sz="1200" b="0" dirty="0">
                  <a:solidFill>
                    <a:srgbClr val="575757"/>
                  </a:solidFill>
                </a:rPr>
                <a:t>linkedin.com/company/agence-du-numerique-en-sante</a:t>
              </a:r>
              <a:endParaRPr lang="fr-FR" sz="1067" b="0" dirty="0">
                <a:solidFill>
                  <a:srgbClr val="575757"/>
                </a:solidFill>
              </a:endParaRPr>
            </a:p>
          </p:txBody>
        </p:sp>
      </p:grpSp>
      <p:pic>
        <p:nvPicPr>
          <p:cNvPr id="18" name="Image 17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053" y="2616076"/>
            <a:ext cx="2347733" cy="1833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9062437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-Cour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id="{CF295AEE-DA56-634E-9DB2-CFD0C7E10858}"/>
              </a:ext>
            </a:extLst>
          </p:cNvPr>
          <p:cNvCxnSpPr/>
          <p:nvPr userDrawn="1"/>
        </p:nvCxnSpPr>
        <p:spPr>
          <a:xfrm>
            <a:off x="475202" y="863029"/>
            <a:ext cx="3328827" cy="0"/>
          </a:xfrm>
          <a:prstGeom prst="line">
            <a:avLst/>
          </a:prstGeom>
          <a:ln>
            <a:solidFill>
              <a:srgbClr val="6F7072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Image 4">
            <a:extLst>
              <a:ext uri="{FF2B5EF4-FFF2-40B4-BE49-F238E27FC236}">
                <a16:creationId xmlns:a16="http://schemas.microsoft.com/office/drawing/2014/main" id="{C0643671-F083-45EA-84BA-871052FDF11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802" t="30472" r="26446" b="-429"/>
          <a:stretch/>
        </p:blipFill>
        <p:spPr>
          <a:xfrm>
            <a:off x="483506" y="500040"/>
            <a:ext cx="706944" cy="273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19779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302" userDrawn="1">
          <p15:clr>
            <a:srgbClr val="FBAE40"/>
          </p15:clr>
        </p15:guide>
        <p15:guide id="4" orient="horz" pos="323" userDrawn="1">
          <p15:clr>
            <a:srgbClr val="FBAE40"/>
          </p15:clr>
        </p15:guide>
        <p15:guide id="5" orient="horz" pos="397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age de 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-2728"/>
            <a:ext cx="12192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sp>
        <p:nvSpPr>
          <p:cNvPr id="7" name="Rectangle 6"/>
          <p:cNvSpPr/>
          <p:nvPr/>
        </p:nvSpPr>
        <p:spPr>
          <a:xfrm>
            <a:off x="0" y="6597352"/>
            <a:ext cx="1219200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sp>
        <p:nvSpPr>
          <p:cNvPr id="8" name="ZoneTexte 7"/>
          <p:cNvSpPr txBox="1"/>
          <p:nvPr/>
        </p:nvSpPr>
        <p:spPr>
          <a:xfrm>
            <a:off x="1483051" y="3782861"/>
            <a:ext cx="8734496" cy="2346497"/>
          </a:xfrm>
          <a:prstGeom prst="rect">
            <a:avLst/>
          </a:prstGeom>
          <a:noFill/>
        </p:spPr>
        <p:txBody>
          <a:bodyPr wrap="square" lIns="96000" tIns="144000" rIns="96000" bIns="144000" rtlCol="0" anchor="t" anchorCtr="0">
            <a:normAutofit/>
          </a:bodyPr>
          <a:lstStyle/>
          <a:p>
            <a:pPr algn="ctr"/>
            <a:r>
              <a:rPr lang="fr-FR" sz="3600" b="0" baseline="0" dirty="0">
                <a:solidFill>
                  <a:srgbClr val="575757"/>
                </a:solidFill>
              </a:rPr>
              <a:t>Retrouvez l’ensemble du programme</a:t>
            </a:r>
          </a:p>
          <a:p>
            <a:pPr algn="ctr"/>
            <a:r>
              <a:rPr lang="fr-FR" sz="3600" b="0" baseline="0" dirty="0">
                <a:solidFill>
                  <a:srgbClr val="575757"/>
                </a:solidFill>
              </a:rPr>
              <a:t>du Village de la e-santé sur</a:t>
            </a:r>
            <a:endParaRPr lang="fr-FR" sz="2800" dirty="0">
              <a:solidFill>
                <a:srgbClr val="575757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-2728"/>
            <a:ext cx="12192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0" y="6597352"/>
            <a:ext cx="1219200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pic>
        <p:nvPicPr>
          <p:cNvPr id="23" name="Image 22">
            <a:extLst>
              <a:ext uri="{FF2B5EF4-FFF2-40B4-BE49-F238E27FC236}">
                <a16:creationId xmlns:a16="http://schemas.microsoft.com/office/drawing/2014/main" id="{DC3B7139-588D-4078-B390-5129C12C271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802" t="30472" r="26446" b="-429"/>
          <a:stretch/>
        </p:blipFill>
        <p:spPr>
          <a:xfrm>
            <a:off x="483506" y="500041"/>
            <a:ext cx="1185496" cy="459078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BA940085-DCC5-4F0E-8701-9AA85691F4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49427"/>
          <a:stretch/>
        </p:blipFill>
        <p:spPr>
          <a:xfrm>
            <a:off x="4241775" y="2017037"/>
            <a:ext cx="3217048" cy="1443535"/>
          </a:xfrm>
          <a:prstGeom prst="rect">
            <a:avLst/>
          </a:prstGeom>
        </p:spPr>
      </p:pic>
      <p:pic>
        <p:nvPicPr>
          <p:cNvPr id="4" name="Image 3" descr="Une image contenant texte, clipart&#10;&#10;Description générée automatiquement">
            <a:extLst>
              <a:ext uri="{FF2B5EF4-FFF2-40B4-BE49-F238E27FC236}">
                <a16:creationId xmlns:a16="http://schemas.microsoft.com/office/drawing/2014/main" id="{9C0DB41E-C5BA-527C-0E53-3E8716B6254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71825" y="5143572"/>
            <a:ext cx="4687048" cy="985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9135620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43339" y="6485727"/>
            <a:ext cx="383117" cy="365125"/>
          </a:xfrm>
        </p:spPr>
        <p:txBody>
          <a:bodyPr/>
          <a:lstStyle>
            <a:lvl1pPr>
              <a:defRPr>
                <a:solidFill>
                  <a:srgbClr val="575757"/>
                </a:solidFill>
              </a:defRPr>
            </a:lvl1pPr>
          </a:lstStyle>
          <a:p>
            <a:fld id="{646E7B68-C406-4B5C-B79D-A1CDE10CB85D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9"/>
          </p:nvPr>
        </p:nvSpPr>
        <p:spPr>
          <a:xfrm>
            <a:off x="545004" y="6485727"/>
            <a:ext cx="9235315" cy="365125"/>
          </a:xfrm>
        </p:spPr>
        <p:txBody>
          <a:bodyPr/>
          <a:lstStyle>
            <a:lvl1pPr>
              <a:defRPr sz="1067"/>
            </a:lvl1pPr>
          </a:lstStyle>
          <a:p>
            <a:r>
              <a:rPr lang="fr-FR" dirty="0">
                <a:latin typeface="Arial"/>
                <a:ea typeface="+mn-ea"/>
              </a:rPr>
              <a:t>Webinaire Cartographie services régionaux | 12/04/2024</a:t>
            </a:r>
          </a:p>
        </p:txBody>
      </p:sp>
      <p:sp>
        <p:nvSpPr>
          <p:cNvPr id="7" name="Espace réservé du texte 2"/>
          <p:cNvSpPr>
            <a:spLocks noGrp="1"/>
          </p:cNvSpPr>
          <p:nvPr>
            <p:ph idx="1"/>
          </p:nvPr>
        </p:nvSpPr>
        <p:spPr>
          <a:xfrm>
            <a:off x="1103445" y="1124744"/>
            <a:ext cx="10753195" cy="49925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4pPr>
              <a:defRPr sz="1867"/>
            </a:lvl4pPr>
            <a:lvl5pPr>
              <a:defRPr sz="16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kumimoji="0" lang="fr-FR" sz="1867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9174445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id="{5C6AD8A0-167E-BF4D-92FC-A16DFDA48D20}"/>
              </a:ext>
            </a:extLst>
          </p:cNvPr>
          <p:cNvCxnSpPr>
            <a:cxnSpLocks/>
          </p:cNvCxnSpPr>
          <p:nvPr userDrawn="1"/>
        </p:nvCxnSpPr>
        <p:spPr>
          <a:xfrm>
            <a:off x="846319" y="1483360"/>
            <a:ext cx="10507481" cy="0"/>
          </a:xfrm>
          <a:prstGeom prst="line">
            <a:avLst/>
          </a:prstGeom>
          <a:ln>
            <a:solidFill>
              <a:srgbClr val="374C6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Espace réservé du contenu 2">
            <a:extLst>
              <a:ext uri="{FF2B5EF4-FFF2-40B4-BE49-F238E27FC236}">
                <a16:creationId xmlns:a16="http://schemas.microsoft.com/office/drawing/2014/main" id="{882024A9-526D-A045-B8BA-7B1AD930DF57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464560" y="1073626"/>
            <a:ext cx="7889240" cy="324009"/>
          </a:xfrm>
        </p:spPr>
        <p:txBody>
          <a:bodyPr lIns="0" tIns="0" rIns="0" bIns="0" anchor="b" anchorCtr="0"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Font typeface="+mj-lt"/>
              <a:buNone/>
              <a:defRPr sz="1600" b="1">
                <a:solidFill>
                  <a:srgbClr val="374C62"/>
                </a:solidFill>
              </a:defRPr>
            </a:lvl1pPr>
          </a:lstStyle>
          <a:p>
            <a:r>
              <a:rPr lang="fr-FR"/>
              <a:t>Titre de la partie</a:t>
            </a:r>
          </a:p>
        </p:txBody>
      </p:sp>
      <p:sp>
        <p:nvSpPr>
          <p:cNvPr id="21" name="Titre 1">
            <a:extLst>
              <a:ext uri="{FF2B5EF4-FFF2-40B4-BE49-F238E27FC236}">
                <a16:creationId xmlns:a16="http://schemas.microsoft.com/office/drawing/2014/main" id="{EEA401E4-F9D8-5044-95A7-FA06CBA4AB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23962" y="1930400"/>
            <a:ext cx="6229838" cy="1228079"/>
          </a:xfrm>
        </p:spPr>
        <p:txBody>
          <a:bodyPr lIns="0" tIns="0" rIns="0" bIns="0" anchor="ctr" anchorCtr="0">
            <a:noAutofit/>
          </a:bodyPr>
          <a:lstStyle>
            <a:lvl1pPr>
              <a:defRPr sz="3200" b="1">
                <a:solidFill>
                  <a:srgbClr val="374C62"/>
                </a:solidFill>
              </a:defRPr>
            </a:lvl1pPr>
          </a:lstStyle>
          <a:p>
            <a:r>
              <a:rPr lang="fr-FR"/>
              <a:t>Sous-titre</a:t>
            </a:r>
          </a:p>
        </p:txBody>
      </p:sp>
      <p:sp>
        <p:nvSpPr>
          <p:cNvPr id="23" name="Espace réservé du contenu 2">
            <a:extLst>
              <a:ext uri="{FF2B5EF4-FFF2-40B4-BE49-F238E27FC236}">
                <a16:creationId xmlns:a16="http://schemas.microsoft.com/office/drawing/2014/main" id="{70EABCAB-2766-C94F-B50A-7C5672A500F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23962" y="3167237"/>
            <a:ext cx="6229838" cy="243640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+mj-lt"/>
              <a:buNone/>
              <a:defRPr sz="1600" b="0">
                <a:solidFill>
                  <a:srgbClr val="374C62"/>
                </a:solidFill>
              </a:defRPr>
            </a:lvl1pPr>
          </a:lstStyle>
          <a:p>
            <a:r>
              <a:rPr lang="fr-FR"/>
              <a:t>Modifier les styles du texte du masque</a:t>
            </a:r>
          </a:p>
          <a:p>
            <a:r>
              <a:rPr lang="fr-FR"/>
              <a:t>Deuxième niveau
Troisième niveau
Quatrième niveau
Cinquième niveau</a:t>
            </a:r>
          </a:p>
        </p:txBody>
      </p:sp>
      <p:sp>
        <p:nvSpPr>
          <p:cNvPr id="13" name="Espace réservé de la date 3">
            <a:extLst>
              <a:ext uri="{FF2B5EF4-FFF2-40B4-BE49-F238E27FC236}">
                <a16:creationId xmlns:a16="http://schemas.microsoft.com/office/drawing/2014/main" id="{30E7E482-88F5-5145-9B5B-27D38D21596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577137" y="6083287"/>
            <a:ext cx="1000182" cy="365125"/>
          </a:xfrm>
        </p:spPr>
        <p:txBody>
          <a:bodyPr lIns="0" rIns="0"/>
          <a:lstStyle>
            <a:lvl1pPr algn="r">
              <a:defRPr sz="1000">
                <a:solidFill>
                  <a:srgbClr val="374C62"/>
                </a:solidFill>
              </a:defRPr>
            </a:lvl1pPr>
          </a:lstStyle>
          <a:p>
            <a:fld id="{36567F0A-7EC2-7443-AAA2-26FC84C01C84}" type="datetime1">
              <a:rPr lang="fr-FR" smtClean="0"/>
              <a:pPr/>
              <a:t>14/05/2024</a:t>
            </a:fld>
            <a:endParaRPr lang="fr-FR" dirty="0"/>
          </a:p>
        </p:txBody>
      </p:sp>
      <p:sp>
        <p:nvSpPr>
          <p:cNvPr id="18" name="Espace réservé du pied de page 4">
            <a:extLst>
              <a:ext uri="{FF2B5EF4-FFF2-40B4-BE49-F238E27FC236}">
                <a16:creationId xmlns:a16="http://schemas.microsoft.com/office/drawing/2014/main" id="{8D7993B5-DD27-D249-BFA7-567578B9A4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82360" y="6083287"/>
            <a:ext cx="4114800" cy="365125"/>
          </a:xfrm>
        </p:spPr>
        <p:txBody>
          <a:bodyPr rIns="0"/>
          <a:lstStyle>
            <a:lvl1pPr algn="r">
              <a:defRPr sz="1000">
                <a:solidFill>
                  <a:srgbClr val="374C62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19" name="Espace réservé du numéro de diapositive 5">
            <a:extLst>
              <a:ext uri="{FF2B5EF4-FFF2-40B4-BE49-F238E27FC236}">
                <a16:creationId xmlns:a16="http://schemas.microsoft.com/office/drawing/2014/main" id="{E828BC55-D315-FD48-BE44-728BDCEDA3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296" y="6083287"/>
            <a:ext cx="496503" cy="365125"/>
          </a:xfrm>
        </p:spPr>
        <p:txBody>
          <a:bodyPr rIns="0"/>
          <a:lstStyle>
            <a:lvl1pPr>
              <a:defRPr sz="1000">
                <a:solidFill>
                  <a:srgbClr val="374C62"/>
                </a:solidFill>
              </a:defRPr>
            </a:lvl1pPr>
          </a:lstStyle>
          <a:p>
            <a:fld id="{1DDB1A13-572D-334A-8257-ACAC7A473C0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E28286BD-4090-6941-85B6-657526D25D4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82923" y="5927506"/>
            <a:ext cx="1350932" cy="405757"/>
          </a:xfrm>
          <a:prstGeom prst="rect">
            <a:avLst/>
          </a:prstGeom>
        </p:spPr>
      </p:pic>
      <p:pic>
        <p:nvPicPr>
          <p:cNvPr id="22" name="Image 21">
            <a:extLst>
              <a:ext uri="{FF2B5EF4-FFF2-40B4-BE49-F238E27FC236}">
                <a16:creationId xmlns:a16="http://schemas.microsoft.com/office/drawing/2014/main" id="{21664583-63CD-3642-81D3-EDB0328E2B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87725" y="5896468"/>
            <a:ext cx="638607" cy="456604"/>
          </a:xfrm>
          <a:prstGeom prst="rect">
            <a:avLst/>
          </a:prstGeom>
        </p:spPr>
      </p:pic>
      <p:cxnSp>
        <p:nvCxnSpPr>
          <p:cNvPr id="25" name="Connecteur droit 24">
            <a:extLst>
              <a:ext uri="{FF2B5EF4-FFF2-40B4-BE49-F238E27FC236}">
                <a16:creationId xmlns:a16="http://schemas.microsoft.com/office/drawing/2014/main" id="{0FCEEC49-0CC0-B048-9FDD-6DAFB850DCEF}"/>
              </a:ext>
            </a:extLst>
          </p:cNvPr>
          <p:cNvCxnSpPr>
            <a:cxnSpLocks/>
          </p:cNvCxnSpPr>
          <p:nvPr userDrawn="1"/>
        </p:nvCxnSpPr>
        <p:spPr>
          <a:xfrm>
            <a:off x="1477061" y="5939164"/>
            <a:ext cx="0" cy="378000"/>
          </a:xfrm>
          <a:prstGeom prst="line">
            <a:avLst/>
          </a:prstGeom>
          <a:ln>
            <a:solidFill>
              <a:srgbClr val="6F707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Image 14" descr="Une image contenant texte&#10;&#10;Description générée automatiquement">
            <a:extLst>
              <a:ext uri="{FF2B5EF4-FFF2-40B4-BE49-F238E27FC236}">
                <a16:creationId xmlns:a16="http://schemas.microsoft.com/office/drawing/2014/main" id="{558A91C1-43FF-490D-BC87-A184DCB2A50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59381" y="703258"/>
            <a:ext cx="1521754" cy="671379"/>
          </a:xfrm>
          <a:prstGeom prst="rect">
            <a:avLst/>
          </a:prstGeom>
        </p:spPr>
      </p:pic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9B6B0A6B-9B17-49CF-A1F9-E305E825C822}"/>
              </a:ext>
            </a:extLst>
          </p:cNvPr>
          <p:cNvCxnSpPr>
            <a:cxnSpLocks/>
          </p:cNvCxnSpPr>
          <p:nvPr userDrawn="1"/>
        </p:nvCxnSpPr>
        <p:spPr>
          <a:xfrm>
            <a:off x="3004129" y="5903766"/>
            <a:ext cx="0" cy="378000"/>
          </a:xfrm>
          <a:prstGeom prst="line">
            <a:avLst/>
          </a:prstGeom>
          <a:ln>
            <a:solidFill>
              <a:srgbClr val="6F707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4CAB6A97-7741-4CBB-BC73-26976A066F02}"/>
              </a:ext>
            </a:extLst>
          </p:cNvPr>
          <p:cNvCxnSpPr>
            <a:cxnSpLocks/>
          </p:cNvCxnSpPr>
          <p:nvPr userDrawn="1"/>
        </p:nvCxnSpPr>
        <p:spPr>
          <a:xfrm>
            <a:off x="4341614" y="5902564"/>
            <a:ext cx="0" cy="378000"/>
          </a:xfrm>
          <a:prstGeom prst="line">
            <a:avLst/>
          </a:prstGeom>
          <a:ln>
            <a:solidFill>
              <a:srgbClr val="6F707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Picture 2" descr="GIE SESAM-Vitale | G_NIUS">
            <a:extLst>
              <a:ext uri="{FF2B5EF4-FFF2-40B4-BE49-F238E27FC236}">
                <a16:creationId xmlns:a16="http://schemas.microsoft.com/office/drawing/2014/main" id="{48C55B96-AA5E-41B1-9D11-C0FAF7FE9D3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77" t="33974" r="19719" b="33915"/>
          <a:stretch/>
        </p:blipFill>
        <p:spPr bwMode="auto">
          <a:xfrm>
            <a:off x="3101005" y="5927506"/>
            <a:ext cx="1227071" cy="402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4" descr="CNAM : #Trois propositions pour le #Déploiement massif de la #Télémédecine  - Connected Doctors">
            <a:extLst>
              <a:ext uri="{FF2B5EF4-FFF2-40B4-BE49-F238E27FC236}">
                <a16:creationId xmlns:a16="http://schemas.microsoft.com/office/drawing/2014/main" id="{C29A584E-0577-4729-9A3F-B1ACF99E6D6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5749" y="5829571"/>
            <a:ext cx="794422" cy="5004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321369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age de garde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-2728"/>
            <a:ext cx="12192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5615947" y="2244362"/>
            <a:ext cx="6036733" cy="1376660"/>
          </a:xfrm>
        </p:spPr>
        <p:txBody>
          <a:bodyPr anchor="ctr" anchorCtr="0">
            <a:noAutofit/>
          </a:bodyPr>
          <a:lstStyle>
            <a:lvl1pPr algn="l">
              <a:lnSpc>
                <a:spcPts val="3600"/>
              </a:lnSpc>
              <a:spcBef>
                <a:spcPts val="0"/>
              </a:spcBef>
              <a:defRPr sz="3733" baseline="0">
                <a:solidFill>
                  <a:srgbClr val="006AB2"/>
                </a:solidFill>
              </a:defRPr>
            </a:lvl1pPr>
          </a:lstStyle>
          <a:p>
            <a:r>
              <a:rPr lang="fr-FR"/>
              <a:t>Titre de la présentation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0" hasCustomPrompt="1"/>
          </p:nvPr>
        </p:nvSpPr>
        <p:spPr>
          <a:xfrm>
            <a:off x="5615947" y="3754140"/>
            <a:ext cx="6036733" cy="885891"/>
          </a:xfrm>
        </p:spPr>
        <p:txBody>
          <a:bodyPr>
            <a:noAutofit/>
          </a:bodyPr>
          <a:lstStyle>
            <a:lvl1pPr algn="l">
              <a:defRPr sz="2667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Cliquer pour ajouter un sous-titre</a:t>
            </a:r>
          </a:p>
        </p:txBody>
      </p:sp>
      <p:pic>
        <p:nvPicPr>
          <p:cNvPr id="13" name="Imag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715" y="296541"/>
            <a:ext cx="1815188" cy="6264921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>
            <a:off x="0" y="6597352"/>
            <a:ext cx="1219200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sp>
        <p:nvSpPr>
          <p:cNvPr id="17" name="Espace réservé du texte 21">
            <a:extLst>
              <a:ext uri="{FF2B5EF4-FFF2-40B4-BE49-F238E27FC236}">
                <a16:creationId xmlns:a16="http://schemas.microsoft.com/office/drawing/2014/main" id="{FC509A42-19AD-CE45-9631-39CA09E7EA3F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5615947" y="5219763"/>
            <a:ext cx="6036733" cy="513493"/>
          </a:xfrm>
          <a:prstGeom prst="rect">
            <a:avLst/>
          </a:prstGeom>
        </p:spPr>
        <p:txBody>
          <a:bodyPr/>
          <a:lstStyle>
            <a:lvl1pPr>
              <a:defRPr sz="16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Date | Emetteur</a:t>
            </a:r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053" y="2616076"/>
            <a:ext cx="2347733" cy="1833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275698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-2728"/>
            <a:ext cx="12192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43339" y="6333323"/>
            <a:ext cx="383117" cy="365125"/>
          </a:xfrm>
        </p:spPr>
        <p:txBody>
          <a:bodyPr/>
          <a:lstStyle>
            <a:lvl1pPr>
              <a:defRPr sz="800"/>
            </a:lvl1pPr>
          </a:lstStyle>
          <a:p>
            <a:fld id="{646E7B68-C406-4B5C-B79D-A1CDE10CB85D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63" name="Espace réservé du texte 62"/>
          <p:cNvSpPr>
            <a:spLocks noGrp="1"/>
          </p:cNvSpPr>
          <p:nvPr>
            <p:ph type="body" sz="quarter" idx="14"/>
          </p:nvPr>
        </p:nvSpPr>
        <p:spPr>
          <a:xfrm>
            <a:off x="5903383" y="2357096"/>
            <a:ext cx="5938660" cy="2880320"/>
          </a:xfrm>
        </p:spPr>
        <p:txBody>
          <a:bodyPr numCol="1">
            <a:normAutofit/>
          </a:bodyPr>
          <a:lstStyle>
            <a:lvl1pPr marL="0" indent="0" algn="l" defTabSz="1219170" rtl="0" eaLnBrk="1" latinLnBrk="0" hangingPunct="1">
              <a:lnSpc>
                <a:spcPct val="150000"/>
              </a:lnSpc>
              <a:spcBef>
                <a:spcPts val="267"/>
              </a:spcBef>
              <a:spcAft>
                <a:spcPts val="0"/>
              </a:spcAft>
              <a:buFontTx/>
              <a:buNone/>
              <a:defRPr lang="fr-FR" sz="1867" b="1" kern="1200" cap="none" baseline="0" smtClean="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fr-FR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5"/>
          </p:nvPr>
        </p:nvSpPr>
        <p:spPr>
          <a:xfrm>
            <a:off x="545004" y="6333323"/>
            <a:ext cx="9235315" cy="365125"/>
          </a:xfrm>
        </p:spPr>
        <p:txBody>
          <a:bodyPr/>
          <a:lstStyle>
            <a:lvl1pPr>
              <a:defRPr sz="800"/>
            </a:lvl1pPr>
          </a:lstStyle>
          <a:p>
            <a:r>
              <a:rPr lang="fr-FR" dirty="0">
                <a:latin typeface="Arial"/>
                <a:ea typeface="+mn-ea"/>
              </a:rPr>
              <a:t>CoMET | COPIL</a:t>
            </a:r>
          </a:p>
        </p:txBody>
      </p:sp>
      <p:sp>
        <p:nvSpPr>
          <p:cNvPr id="10" name="Titre 1"/>
          <p:cNvSpPr txBox="1">
            <a:spLocks/>
          </p:cNvSpPr>
          <p:nvPr/>
        </p:nvSpPr>
        <p:spPr>
          <a:xfrm>
            <a:off x="5903384" y="357598"/>
            <a:ext cx="5627888" cy="137666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ts val="2700"/>
              </a:lnSpc>
              <a:spcBef>
                <a:spcPts val="0"/>
              </a:spcBef>
              <a:buNone/>
              <a:defRPr sz="2800" b="1" kern="1200" baseline="0">
                <a:solidFill>
                  <a:srgbClr val="006AB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fr-FR" sz="3733" dirty="0"/>
              <a:t>Ordre du jour du COPIL</a:t>
            </a:r>
          </a:p>
        </p:txBody>
      </p:sp>
      <p:pic>
        <p:nvPicPr>
          <p:cNvPr id="15" name="Image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053" y="2616076"/>
            <a:ext cx="2347733" cy="1833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269033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0" y="-2728"/>
            <a:ext cx="12192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43339" y="6488139"/>
            <a:ext cx="383117" cy="365125"/>
          </a:xfrm>
        </p:spPr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63" name="Espace réservé du texte 62"/>
          <p:cNvSpPr>
            <a:spLocks noGrp="1"/>
          </p:cNvSpPr>
          <p:nvPr>
            <p:ph type="body" sz="quarter" idx="14"/>
          </p:nvPr>
        </p:nvSpPr>
        <p:spPr>
          <a:xfrm>
            <a:off x="5903383" y="2357096"/>
            <a:ext cx="5938660" cy="2880320"/>
          </a:xfrm>
        </p:spPr>
        <p:txBody>
          <a:bodyPr numCol="1">
            <a:normAutofit/>
          </a:bodyPr>
          <a:lstStyle>
            <a:lvl1pPr marL="0" indent="0" algn="l" defTabSz="1219170" rtl="0" eaLnBrk="1" latinLnBrk="0" hangingPunct="1">
              <a:lnSpc>
                <a:spcPct val="150000"/>
              </a:lnSpc>
              <a:spcBef>
                <a:spcPts val="267"/>
              </a:spcBef>
              <a:spcAft>
                <a:spcPts val="0"/>
              </a:spcAft>
              <a:buFontTx/>
              <a:buNone/>
              <a:defRPr lang="fr-FR" sz="1867" b="1" kern="1200" cap="none" baseline="0" smtClean="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fr-FR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5"/>
          </p:nvPr>
        </p:nvSpPr>
        <p:spPr>
          <a:xfrm>
            <a:off x="545004" y="6488139"/>
            <a:ext cx="9235315" cy="365125"/>
          </a:xfrm>
        </p:spPr>
        <p:txBody>
          <a:bodyPr/>
          <a:lstStyle/>
          <a:p>
            <a:r>
              <a:rPr lang="fr-FR" dirty="0">
                <a:latin typeface="Arial"/>
                <a:ea typeface="+mn-ea"/>
              </a:rPr>
              <a:t>CoMET | COPIL</a:t>
            </a:r>
          </a:p>
        </p:txBody>
      </p:sp>
      <p:sp>
        <p:nvSpPr>
          <p:cNvPr id="10" name="Titre 1"/>
          <p:cNvSpPr txBox="1">
            <a:spLocks/>
          </p:cNvSpPr>
          <p:nvPr/>
        </p:nvSpPr>
        <p:spPr>
          <a:xfrm>
            <a:off x="5903384" y="1220755"/>
            <a:ext cx="4513096" cy="137666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ts val="2700"/>
              </a:lnSpc>
              <a:spcBef>
                <a:spcPts val="0"/>
              </a:spcBef>
              <a:buNone/>
              <a:defRPr sz="2800" b="1" kern="1200" baseline="0">
                <a:solidFill>
                  <a:srgbClr val="006AB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fr-FR" sz="3733" dirty="0"/>
              <a:t>Objectifs du COPI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-2728"/>
            <a:ext cx="12192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pic>
        <p:nvPicPr>
          <p:cNvPr id="15" name="Image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053" y="2616076"/>
            <a:ext cx="2347733" cy="1833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7515939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0" y="-2728"/>
            <a:ext cx="12192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6001" y="192021"/>
            <a:ext cx="1746908" cy="6405331"/>
          </a:xfrm>
          <a:prstGeom prst="rect">
            <a:avLst/>
          </a:prstGeom>
        </p:spPr>
      </p:pic>
      <p:sp>
        <p:nvSpPr>
          <p:cNvPr id="17" name="Titre 1"/>
          <p:cNvSpPr>
            <a:spLocks noGrp="1"/>
          </p:cNvSpPr>
          <p:nvPr>
            <p:ph type="ctrTitle" hasCustomPrompt="1"/>
          </p:nvPr>
        </p:nvSpPr>
        <p:spPr>
          <a:xfrm>
            <a:off x="5903384" y="2244362"/>
            <a:ext cx="5749296" cy="1376660"/>
          </a:xfrm>
        </p:spPr>
        <p:txBody>
          <a:bodyPr anchor="ctr" anchorCtr="0">
            <a:noAutofit/>
          </a:bodyPr>
          <a:lstStyle>
            <a:lvl1pPr algn="l">
              <a:lnSpc>
                <a:spcPts val="3600"/>
              </a:lnSpc>
              <a:spcBef>
                <a:spcPts val="0"/>
              </a:spcBef>
              <a:defRPr sz="3733" baseline="0">
                <a:solidFill>
                  <a:srgbClr val="006AB2"/>
                </a:solidFill>
              </a:defRPr>
            </a:lvl1pPr>
          </a:lstStyle>
          <a:p>
            <a:r>
              <a:rPr lang="fr-FR"/>
              <a:t>Titre du chapitre</a:t>
            </a:r>
          </a:p>
        </p:txBody>
      </p:sp>
      <p:sp>
        <p:nvSpPr>
          <p:cNvPr id="18" name="Espace réservé du texte 3"/>
          <p:cNvSpPr>
            <a:spLocks noGrp="1"/>
          </p:cNvSpPr>
          <p:nvPr>
            <p:ph type="body" sz="quarter" idx="13" hasCustomPrompt="1"/>
          </p:nvPr>
        </p:nvSpPr>
        <p:spPr>
          <a:xfrm>
            <a:off x="5903384" y="3754140"/>
            <a:ext cx="5749296" cy="885891"/>
          </a:xfrm>
        </p:spPr>
        <p:txBody>
          <a:bodyPr>
            <a:noAutofit/>
          </a:bodyPr>
          <a:lstStyle>
            <a:lvl1pPr algn="l">
              <a:defRPr sz="2667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Sous-titre éventu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-2728"/>
            <a:ext cx="12192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pic>
        <p:nvPicPr>
          <p:cNvPr id="10" name="Imag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6001" y="192021"/>
            <a:ext cx="1746908" cy="6405331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053" y="2616076"/>
            <a:ext cx="2347733" cy="1833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4083072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15" Type="http://schemas.openxmlformats.org/officeDocument/2006/relationships/image" Target="../media/image10.png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image" Target="../media/image9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74EDF37C-BAA1-9F45-9E5A-C012BC1871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55C4A8D8-ED2F-8946-8D1E-7D7DB6D998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fr-FR"/>
              <a:t>Modifier les styles du texte du masque
Deuxième niveau
Troisième niveau
Quatrième niveau
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287BE01E-D4B0-4840-9F4A-224AD609F69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84A0BC-939D-A84F-A7C4-D217642CCECB}" type="datetimeFigureOut">
              <a:rPr lang="fr-FR" smtClean="0"/>
              <a:t>14/05/2024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02303DDE-1368-644D-AF97-0F270E62FF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0D71D62-60F7-D640-ABA7-EAB3033C06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933F58-996B-6244-9794-480B52F9F77B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9814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8F3EFC7-9FDF-CB2E-96E5-835DC1A593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744202321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13" imgW="473" imgH="473" progId="TCLayout.ActiveDocument.1">
                  <p:embed/>
                </p:oleObj>
              </mc:Choice>
              <mc:Fallback>
                <p:oleObj name="Diapositive think-cell" r:id="rId13" imgW="473" imgH="473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8F3EFC7-9FDF-CB2E-96E5-835DC1A593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103445" y="1124744"/>
            <a:ext cx="10753195" cy="49925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Modifiez les styles du texte du masque</a:t>
            </a:r>
          </a:p>
          <a:p>
            <a:pPr marL="959976" marR="0" lvl="1" indent="-380990" algn="l" defTabSz="121917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6AB2"/>
              </a:buClr>
              <a:buSzPct val="100000"/>
              <a:buFont typeface="Wingdings 3" panose="05040102010807070707" pitchFamily="18" charset="2"/>
              <a:buChar char="u"/>
              <a:tabLst/>
              <a:defRPr/>
            </a:pPr>
            <a:r>
              <a:rPr kumimoji="0" lang="fr-FR" sz="2400" b="1" i="0" u="none" strike="noStrike" kern="1200" cap="none" spc="0" normalizeH="0" baseline="0" noProof="0">
                <a:ln>
                  <a:noFill/>
                </a:ln>
                <a:solidFill>
                  <a:srgbClr val="006AB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uxième niveau</a:t>
            </a:r>
          </a:p>
          <a:p>
            <a:pPr marL="1439964" marR="0" lvl="2" indent="-335992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Tx/>
              <a:buSzTx/>
              <a:buFont typeface="Webdings" panose="05030102010509060703" pitchFamily="18" charset="2"/>
              <a:buChar char="&lt;"/>
              <a:tabLst/>
              <a:defRPr/>
            </a:pPr>
            <a:r>
              <a:rPr kumimoji="0" lang="fr-FR" sz="2133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roisième niveau</a:t>
            </a:r>
          </a:p>
          <a:p>
            <a:pPr marL="1919952" marR="0" lvl="3" indent="-287993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Tx/>
              <a:buSzPct val="130000"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2133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Quatrième niveau</a:t>
            </a:r>
          </a:p>
          <a:p>
            <a:pPr marL="2399940" marR="0" lvl="4" indent="-287993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Tx/>
              <a:buSzPct val="110000"/>
              <a:buFont typeface="Arial" pitchFamily="34" charset="0"/>
              <a:buChar char="•"/>
              <a:tabLst/>
              <a:defRPr/>
            </a:pPr>
            <a:r>
              <a:rPr kumimoji="0" lang="fr-FR" sz="1867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inqu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143339" y="6488139"/>
            <a:ext cx="38311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lang="fr-FR" sz="800" i="1" kern="1200" smtClean="0">
                <a:solidFill>
                  <a:srgbClr val="575757"/>
                </a:solidFill>
                <a:latin typeface="Arial"/>
                <a:ea typeface="+mn-ea"/>
                <a:cs typeface="+mn-cs"/>
              </a:defRPr>
            </a:lvl1pPr>
          </a:lstStyle>
          <a:p>
            <a:fld id="{646E7B68-C406-4B5C-B79D-A1CDE10CB85D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545004" y="6488139"/>
            <a:ext cx="923531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i="1">
                <a:solidFill>
                  <a:srgbClr val="575757"/>
                </a:solidFill>
              </a:defRPr>
            </a:lvl1pPr>
          </a:lstStyle>
          <a:p>
            <a:r>
              <a:rPr lang="fr-FR" dirty="0">
                <a:latin typeface="Arial"/>
                <a:ea typeface="+mn-ea"/>
              </a:rPr>
              <a:t>CoMET | COPIL</a:t>
            </a:r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103445" y="116632"/>
            <a:ext cx="10752123" cy="720008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fr-FR"/>
              <a:t>Titre de la slide</a:t>
            </a:r>
          </a:p>
        </p:txBody>
      </p:sp>
      <p:cxnSp>
        <p:nvCxnSpPr>
          <p:cNvPr id="7" name="Connecteur droit 6"/>
          <p:cNvCxnSpPr/>
          <p:nvPr/>
        </p:nvCxnSpPr>
        <p:spPr>
          <a:xfrm>
            <a:off x="194853" y="932723"/>
            <a:ext cx="11804403" cy="0"/>
          </a:xfrm>
          <a:prstGeom prst="line">
            <a:avLst/>
          </a:prstGeom>
          <a:ln w="3175">
            <a:solidFill>
              <a:srgbClr val="57575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7"/>
          <p:cNvCxnSpPr/>
          <p:nvPr userDrawn="1"/>
        </p:nvCxnSpPr>
        <p:spPr>
          <a:xfrm>
            <a:off x="194853" y="932723"/>
            <a:ext cx="11804403" cy="0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Image 9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700" y="154773"/>
            <a:ext cx="787307" cy="614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6579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58" r:id="rId4"/>
    <p:sldLayoutId id="2147483659" r:id="rId5"/>
    <p:sldLayoutId id="2147483660" r:id="rId6"/>
    <p:sldLayoutId id="2147483661" r:id="rId7"/>
    <p:sldLayoutId id="2147483662" r:id="rId8"/>
    <p:sldLayoutId id="2147483663" r:id="rId9"/>
    <p:sldLayoutId id="2147483664" r:id="rId10"/>
  </p:sldLayoutIdLst>
  <p:transition>
    <p:fade/>
  </p:transition>
  <p:hf hdr="0" dt="0"/>
  <p:txStyles>
    <p:titleStyle>
      <a:lvl1pPr algn="l" defTabSz="1219170" rtl="0" eaLnBrk="1" latinLnBrk="0" hangingPunct="1">
        <a:lnSpc>
          <a:spcPts val="2933"/>
        </a:lnSpc>
        <a:spcBef>
          <a:spcPct val="0"/>
        </a:spcBef>
        <a:buNone/>
        <a:defRPr sz="2667" b="1" kern="1200">
          <a:solidFill>
            <a:srgbClr val="006AB2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1219170" rtl="0" eaLnBrk="1" fontAlgn="auto" latinLnBrk="0" hangingPunct="1">
        <a:lnSpc>
          <a:spcPct val="100000"/>
        </a:lnSpc>
        <a:spcBef>
          <a:spcPts val="2400"/>
        </a:spcBef>
        <a:spcAft>
          <a:spcPts val="0"/>
        </a:spcAft>
        <a:buClrTx/>
        <a:buSzPct val="100000"/>
        <a:buFont typeface="Wingdings" panose="05000000000000000000" pitchFamily="2" charset="2"/>
        <a:buNone/>
        <a:tabLst/>
        <a:defRPr sz="3200" b="1" kern="1200" cap="none" baseline="0">
          <a:solidFill>
            <a:schemeClr val="tx2"/>
          </a:solidFill>
          <a:latin typeface="+mn-lt"/>
          <a:ea typeface="+mn-ea"/>
          <a:cs typeface="+mn-cs"/>
        </a:defRPr>
      </a:lvl1pPr>
      <a:lvl2pPr marL="959976" marR="0" indent="-380990" algn="l" defTabSz="1219170" rtl="0" eaLnBrk="1" fontAlgn="auto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rgbClr val="006AB2"/>
        </a:buClr>
        <a:buSzPct val="100000"/>
        <a:buFont typeface="Wingdings 3" panose="05040102010807070707" pitchFamily="18" charset="2"/>
        <a:buChar char="u"/>
        <a:tabLst/>
        <a:defRPr sz="2400" b="1" kern="1200" baseline="0">
          <a:solidFill>
            <a:schemeClr val="tx2"/>
          </a:solidFill>
          <a:latin typeface="+mn-lt"/>
          <a:ea typeface="+mn-ea"/>
          <a:cs typeface="+mn-cs"/>
        </a:defRPr>
      </a:lvl2pPr>
      <a:lvl3pPr marL="1439964" marR="0" indent="-335992" algn="l" defTabSz="1219170" rtl="0" eaLnBrk="1" fontAlgn="auto" latinLnBrk="0" hangingPunct="1">
        <a:lnSpc>
          <a:spcPct val="100000"/>
        </a:lnSpc>
        <a:spcBef>
          <a:spcPts val="533"/>
        </a:spcBef>
        <a:spcAft>
          <a:spcPts val="0"/>
        </a:spcAft>
        <a:buClrTx/>
        <a:buSzTx/>
        <a:buFont typeface="Webdings" panose="05030102010509060703" pitchFamily="18" charset="2"/>
        <a:buChar char="&lt;"/>
        <a:tabLst/>
        <a:defRPr lang="fr-FR" sz="2133" kern="1200" baseline="0">
          <a:solidFill>
            <a:srgbClr val="575757"/>
          </a:solidFill>
          <a:latin typeface="+mn-lt"/>
          <a:ea typeface="+mn-ea"/>
          <a:cs typeface="+mn-cs"/>
        </a:defRPr>
      </a:lvl3pPr>
      <a:lvl4pPr marL="1919952" marR="0" indent="-287993" algn="l" defTabSz="1219170" rtl="0" eaLnBrk="1" fontAlgn="auto" latinLnBrk="0" hangingPunct="1">
        <a:lnSpc>
          <a:spcPct val="100000"/>
        </a:lnSpc>
        <a:spcBef>
          <a:spcPts val="533"/>
        </a:spcBef>
        <a:spcAft>
          <a:spcPts val="0"/>
        </a:spcAft>
        <a:buClrTx/>
        <a:buSzPct val="130000"/>
        <a:buFont typeface="Arial" panose="020B0604020202020204" pitchFamily="34" charset="0"/>
        <a:buChar char="•"/>
        <a:tabLst/>
        <a:defRPr lang="fr-FR" sz="1867" kern="1200">
          <a:solidFill>
            <a:srgbClr val="575757"/>
          </a:solidFill>
          <a:latin typeface="+mn-lt"/>
          <a:ea typeface="+mn-ea"/>
          <a:cs typeface="+mn-cs"/>
        </a:defRPr>
      </a:lvl4pPr>
      <a:lvl5pPr marL="2399940" marR="0" indent="-287993" algn="l" defTabSz="1219170" rtl="0" eaLnBrk="1" fontAlgn="auto" latinLnBrk="0" hangingPunct="1">
        <a:lnSpc>
          <a:spcPct val="100000"/>
        </a:lnSpc>
        <a:spcBef>
          <a:spcPts val="267"/>
        </a:spcBef>
        <a:spcAft>
          <a:spcPts val="0"/>
        </a:spcAft>
        <a:buClrTx/>
        <a:buSzPct val="110000"/>
        <a:buFont typeface="Arial" pitchFamily="34" charset="0"/>
        <a:buChar char="•"/>
        <a:tabLst/>
        <a:defRPr lang="fr-FR" sz="1600" kern="1200">
          <a:solidFill>
            <a:srgbClr val="575757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3" Type="http://schemas.openxmlformats.org/officeDocument/2006/relationships/image" Target="../media/image55.png"/><Relationship Id="rId7" Type="http://schemas.openxmlformats.org/officeDocument/2006/relationships/image" Target="../media/image69.sv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8.png"/><Relationship Id="rId11" Type="http://schemas.openxmlformats.org/officeDocument/2006/relationships/image" Target="../media/image73.svg"/><Relationship Id="rId5" Type="http://schemas.openxmlformats.org/officeDocument/2006/relationships/image" Target="../media/image67.svg"/><Relationship Id="rId10" Type="http://schemas.openxmlformats.org/officeDocument/2006/relationships/image" Target="../media/image72.png"/><Relationship Id="rId4" Type="http://schemas.openxmlformats.org/officeDocument/2006/relationships/image" Target="../media/image66.png"/><Relationship Id="rId9" Type="http://schemas.openxmlformats.org/officeDocument/2006/relationships/image" Target="../media/image71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7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75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svg"/><Relationship Id="rId13" Type="http://schemas.openxmlformats.org/officeDocument/2006/relationships/image" Target="../media/image36.pn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12" Type="http://schemas.openxmlformats.org/officeDocument/2006/relationships/image" Target="../media/image3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9.svg"/><Relationship Id="rId11" Type="http://schemas.openxmlformats.org/officeDocument/2006/relationships/image" Target="../media/image34.svg"/><Relationship Id="rId5" Type="http://schemas.openxmlformats.org/officeDocument/2006/relationships/image" Target="../media/image28.png"/><Relationship Id="rId10" Type="http://schemas.openxmlformats.org/officeDocument/2006/relationships/image" Target="../media/image33.png"/><Relationship Id="rId4" Type="http://schemas.openxmlformats.org/officeDocument/2006/relationships/image" Target="../media/image27.png"/><Relationship Id="rId9" Type="http://schemas.openxmlformats.org/officeDocument/2006/relationships/image" Target="../media/image32.png"/><Relationship Id="rId14" Type="http://schemas.openxmlformats.org/officeDocument/2006/relationships/image" Target="../media/image2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37.png"/><Relationship Id="rId7" Type="http://schemas.openxmlformats.org/officeDocument/2006/relationships/image" Target="../media/image41.png"/><Relationship Id="rId12" Type="http://schemas.openxmlformats.org/officeDocument/2006/relationships/image" Target="../media/image4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0.png"/><Relationship Id="rId11" Type="http://schemas.openxmlformats.org/officeDocument/2006/relationships/image" Target="../media/image45.png"/><Relationship Id="rId5" Type="http://schemas.openxmlformats.org/officeDocument/2006/relationships/image" Target="../media/image39.png"/><Relationship Id="rId10" Type="http://schemas.openxmlformats.org/officeDocument/2006/relationships/image" Target="../media/image44.jpeg"/><Relationship Id="rId4" Type="http://schemas.openxmlformats.org/officeDocument/2006/relationships/image" Target="../media/image38.png"/><Relationship Id="rId9" Type="http://schemas.openxmlformats.org/officeDocument/2006/relationships/image" Target="../media/image4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image" Target="../media/image47.png"/><Relationship Id="rId7" Type="http://schemas.openxmlformats.org/officeDocument/2006/relationships/image" Target="../media/image51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0.png"/><Relationship Id="rId11" Type="http://schemas.openxmlformats.org/officeDocument/2006/relationships/hyperlink" Target="https://esante.gouv.fr/strategie-nationale/presentation-cartographie-des-services-numeriques-territoriaux" TargetMode="External"/><Relationship Id="rId5" Type="http://schemas.openxmlformats.org/officeDocument/2006/relationships/image" Target="../media/image49.png"/><Relationship Id="rId10" Type="http://schemas.openxmlformats.org/officeDocument/2006/relationships/image" Target="../media/image54.png"/><Relationship Id="rId4" Type="http://schemas.openxmlformats.org/officeDocument/2006/relationships/image" Target="../media/image48.png"/><Relationship Id="rId9" Type="http://schemas.openxmlformats.org/officeDocument/2006/relationships/image" Target="../media/image53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svg"/><Relationship Id="rId3" Type="http://schemas.openxmlformats.org/officeDocument/2006/relationships/image" Target="../media/image55.png"/><Relationship Id="rId7" Type="http://schemas.openxmlformats.org/officeDocument/2006/relationships/image" Target="../media/image5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1.xml"/><Relationship Id="rId5" Type="http://schemas.openxmlformats.org/officeDocument/2006/relationships/image" Target="../media/image57.svg"/><Relationship Id="rId4" Type="http://schemas.openxmlformats.org/officeDocument/2006/relationships/image" Target="../media/image5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7" Type="http://schemas.openxmlformats.org/officeDocument/2006/relationships/image" Target="../media/image63.sv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2.png"/><Relationship Id="rId5" Type="http://schemas.openxmlformats.org/officeDocument/2006/relationships/image" Target="../media/image61.svg"/><Relationship Id="rId4" Type="http://schemas.openxmlformats.org/officeDocument/2006/relationships/image" Target="../media/image6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5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esante.gouv.fr/la-esante-en-region" TargetMode="External"/><Relationship Id="rId5" Type="http://schemas.openxmlformats.org/officeDocument/2006/relationships/hyperlink" Target="https://esante.gouv.fr/strategie-nationale" TargetMode="External"/><Relationship Id="rId4" Type="http://schemas.openxmlformats.org/officeDocument/2006/relationships/hyperlink" Target="https://esante.gouv.fr/strategie-nationale/presentation-cartographie-des-services-numeriques-territoriaux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>
            <a:extLst>
              <a:ext uri="{FF2B5EF4-FFF2-40B4-BE49-F238E27FC236}">
                <a16:creationId xmlns:a16="http://schemas.microsoft.com/office/drawing/2014/main" id="{BCB7FED5-1F1B-9645-AA87-6481650E1CC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374754" y="2611754"/>
            <a:ext cx="5806802" cy="3719702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2DC2EFD2-8BFE-FA4B-A89C-BF1E694D821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/>
          </a:blip>
          <a:srcRect t="18482" b="7924"/>
          <a:stretch/>
        </p:blipFill>
        <p:spPr>
          <a:xfrm>
            <a:off x="-18034" y="2152650"/>
            <a:ext cx="12191999" cy="4600575"/>
          </a:xfrm>
          <a:prstGeom prst="rect">
            <a:avLst/>
          </a:prstGeom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0E55F214-F4A7-674A-B09F-A7B76CC21323}"/>
              </a:ext>
            </a:extLst>
          </p:cNvPr>
          <p:cNvSpPr txBox="1"/>
          <p:nvPr/>
        </p:nvSpPr>
        <p:spPr>
          <a:xfrm>
            <a:off x="5021705" y="2886387"/>
            <a:ext cx="6595672" cy="11356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4800"/>
              </a:lnSpc>
            </a:pPr>
            <a:r>
              <a:rPr lang="fr-FR" sz="4800" b="1" dirty="0">
                <a:latin typeface="Arial" panose="020B0604020202020204" pitchFamily="34" charset="0"/>
                <a:cs typeface="Arial" panose="020B0604020202020204" pitchFamily="34" charset="0"/>
              </a:rPr>
              <a:t>Programme</a:t>
            </a:r>
            <a:br>
              <a:rPr lang="fr-FR" sz="48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2000" b="1" dirty="0">
                <a:latin typeface="Arial" panose="020B0604020202020204" pitchFamily="34" charset="0"/>
                <a:cs typeface="Arial" panose="020B0604020202020204" pitchFamily="34" charset="0"/>
              </a:rPr>
              <a:t>Convergence, Mutualisation et Efficience Territoriale</a:t>
            </a:r>
            <a:endParaRPr lang="fr-FR" sz="4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2ECF3B9A-CB4F-EE43-9C47-B68155116887}"/>
              </a:ext>
            </a:extLst>
          </p:cNvPr>
          <p:cNvSpPr txBox="1"/>
          <p:nvPr/>
        </p:nvSpPr>
        <p:spPr>
          <a:xfrm>
            <a:off x="5036695" y="4228364"/>
            <a:ext cx="6595672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400"/>
              </a:lnSpc>
            </a:pPr>
            <a:r>
              <a:rPr lang="fr-FR" sz="2400" b="1" dirty="0">
                <a:latin typeface="Arial" panose="020B0604020202020204" pitchFamily="34" charset="0"/>
                <a:cs typeface="Arial" panose="020B0604020202020204" pitchFamily="34" charset="0"/>
              </a:rPr>
              <a:t>Atelier de présentation du programme</a:t>
            </a:r>
            <a:br>
              <a:rPr lang="fr-FR" sz="24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2400" b="1" dirty="0">
                <a:latin typeface="Arial" panose="020B0604020202020204" pitchFamily="34" charset="0"/>
                <a:cs typeface="Arial" panose="020B0604020202020204" pitchFamily="34" charset="0"/>
              </a:rPr>
              <a:t>et de la cartographie des services numériques régionaux</a:t>
            </a:r>
          </a:p>
        </p:txBody>
      </p:sp>
      <p:pic>
        <p:nvPicPr>
          <p:cNvPr id="6" name="Image 9">
            <a:extLst>
              <a:ext uri="{FF2B5EF4-FFF2-40B4-BE49-F238E27FC236}">
                <a16:creationId xmlns:a16="http://schemas.microsoft.com/office/drawing/2014/main" id="{0F2F4C61-E0D2-4878-A1F6-FB5A7647EB4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4754" y="530439"/>
            <a:ext cx="3330362" cy="1285835"/>
          </a:xfrm>
          <a:prstGeom prst="rect">
            <a:avLst/>
          </a:prstGeom>
        </p:spPr>
      </p:pic>
      <p:pic>
        <p:nvPicPr>
          <p:cNvPr id="3" name="Image 2" descr="Une image contenant texte&#10;&#10;Description générée automatiquement">
            <a:extLst>
              <a:ext uri="{FF2B5EF4-FFF2-40B4-BE49-F238E27FC236}">
                <a16:creationId xmlns:a16="http://schemas.microsoft.com/office/drawing/2014/main" id="{4BF4D691-B053-884D-C199-20C5BC733DF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70495" y="748403"/>
            <a:ext cx="1184744" cy="236533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D19564E7-06F5-C299-5AA4-3620BDCAF614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-1435" r="40749"/>
          <a:stretch/>
        </p:blipFill>
        <p:spPr>
          <a:xfrm>
            <a:off x="8649547" y="2599331"/>
            <a:ext cx="2904937" cy="859070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C5993924-50E9-820A-F9D6-DF6F77D90C5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856134" y="5143162"/>
            <a:ext cx="1607219" cy="1607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98804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numéro de diapositive 2">
            <a:extLst>
              <a:ext uri="{FF2B5EF4-FFF2-40B4-BE49-F238E27FC236}">
                <a16:creationId xmlns:a16="http://schemas.microsoft.com/office/drawing/2014/main" id="{349A3651-8FEB-DCD2-1137-01B7D2B64AE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492875"/>
            <a:ext cx="382588" cy="365125"/>
          </a:xfrm>
        </p:spPr>
        <p:txBody>
          <a:bodyPr/>
          <a:lstStyle/>
          <a:p>
            <a:fld id="{646E7B68-C406-4B5C-B79D-A1CDE10CB85D}" type="slidenum">
              <a:rPr lang="fr-FR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0</a:t>
            </a:fld>
            <a:endParaRPr lang="fr-F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re 1">
            <a:extLst>
              <a:ext uri="{FF2B5EF4-FFF2-40B4-BE49-F238E27FC236}">
                <a16:creationId xmlns:a16="http://schemas.microsoft.com/office/drawing/2014/main" id="{EC06F4F5-4A4A-87F8-B6CB-A9FCB168678C}"/>
              </a:ext>
            </a:extLst>
          </p:cNvPr>
          <p:cNvSpPr txBox="1">
            <a:spLocks/>
          </p:cNvSpPr>
          <p:nvPr/>
        </p:nvSpPr>
        <p:spPr>
          <a:xfrm>
            <a:off x="1335891" y="266073"/>
            <a:ext cx="9067211" cy="72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1219140" rtl="0" eaLnBrk="1" latinLnBrk="0" hangingPunct="1">
              <a:lnSpc>
                <a:spcPts val="2933"/>
              </a:lnSpc>
              <a:spcBef>
                <a:spcPct val="0"/>
              </a:spcBef>
              <a:buNone/>
              <a:defRPr sz="2667" b="1" kern="1200">
                <a:solidFill>
                  <a:srgbClr val="006AB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lnSpc>
                <a:spcPts val="2500"/>
              </a:lnSpc>
            </a:pPr>
            <a:r>
              <a:rPr lang="fr-FR" sz="2400" dirty="0">
                <a:latin typeface="Arial" panose="020B0604020202020204" pitchFamily="34" charset="0"/>
                <a:cs typeface="Arial" panose="020B0604020202020204" pitchFamily="34" charset="0"/>
              </a:rPr>
              <a:t>Quelles pistes d’évolution envisagées pour la cartographie ?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22DB5CDE-C915-C357-3DF2-63F68F50F99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03102" y="-8367"/>
            <a:ext cx="1788141" cy="529104"/>
          </a:xfrm>
          <a:prstGeom prst="rect">
            <a:avLst/>
          </a:prstGeom>
        </p:spPr>
      </p:pic>
      <p:pic>
        <p:nvPicPr>
          <p:cNvPr id="4" name="Graphique 3" descr="Amélioration continue contour">
            <a:extLst>
              <a:ext uri="{FF2B5EF4-FFF2-40B4-BE49-F238E27FC236}">
                <a16:creationId xmlns:a16="http://schemas.microsoft.com/office/drawing/2014/main" id="{3E67F535-2997-633D-F2EB-9D3E5A714B3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64427" y="1111033"/>
            <a:ext cx="435132" cy="435132"/>
          </a:xfrm>
          <a:prstGeom prst="rect">
            <a:avLst/>
          </a:prstGeom>
        </p:spPr>
      </p:pic>
      <p:pic>
        <p:nvPicPr>
          <p:cNvPr id="5" name="Graphique 4" descr="Croissance de l'activité contour">
            <a:extLst>
              <a:ext uri="{FF2B5EF4-FFF2-40B4-BE49-F238E27FC236}">
                <a16:creationId xmlns:a16="http://schemas.microsoft.com/office/drawing/2014/main" id="{72F3582B-01DB-99C8-9390-5AD6004739A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20367" y="2222525"/>
            <a:ext cx="431193" cy="431193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D9403E6B-E265-4FE4-4DCB-44320D3C9220}"/>
              </a:ext>
            </a:extLst>
          </p:cNvPr>
          <p:cNvSpPr/>
          <p:nvPr/>
        </p:nvSpPr>
        <p:spPr>
          <a:xfrm>
            <a:off x="302107" y="1362466"/>
            <a:ext cx="11673416" cy="612876"/>
          </a:xfrm>
          <a:prstGeom prst="rect">
            <a:avLst/>
          </a:prstGeom>
          <a:noFill/>
          <a:ln w="6350">
            <a:solidFill>
              <a:srgbClr val="A6A6A6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FR" sz="1867" b="1" dirty="0">
              <a:solidFill>
                <a:srgbClr val="006AB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ZoneTexte 14">
            <a:extLst>
              <a:ext uri="{FF2B5EF4-FFF2-40B4-BE49-F238E27FC236}">
                <a16:creationId xmlns:a16="http://schemas.microsoft.com/office/drawing/2014/main" id="{969C364E-64B7-0982-0742-76A5EA47FCC2}"/>
              </a:ext>
            </a:extLst>
          </p:cNvPr>
          <p:cNvSpPr txBox="1"/>
          <p:nvPr/>
        </p:nvSpPr>
        <p:spPr>
          <a:xfrm>
            <a:off x="289253" y="1504507"/>
            <a:ext cx="11673416" cy="35900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9pPr>
          </a:lstStyle>
          <a:p>
            <a:pPr marL="143996" indent="-143996" algn="just">
              <a:spcBef>
                <a:spcPts val="800"/>
              </a:spcBef>
              <a:buClr>
                <a:srgbClr val="5268A5"/>
              </a:buClr>
              <a:buFont typeface="Arial" panose="020B0604020202020204" pitchFamily="34" charset="0"/>
              <a:buChar char="•"/>
            </a:pPr>
            <a:r>
              <a:rPr lang="fr-FR" sz="1733" b="1" i="1" dirty="0">
                <a:solidFill>
                  <a:srgbClr val="5268A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es à jour régulières </a:t>
            </a:r>
            <a:r>
              <a:rPr lang="fr-FR" sz="1733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ponctuelles au fil de l’eau ou au global par trimestre)</a:t>
            </a:r>
          </a:p>
        </p:txBody>
      </p:sp>
      <p:sp>
        <p:nvSpPr>
          <p:cNvPr id="26" name="ZoneTexte 17">
            <a:extLst>
              <a:ext uri="{FF2B5EF4-FFF2-40B4-BE49-F238E27FC236}">
                <a16:creationId xmlns:a16="http://schemas.microsoft.com/office/drawing/2014/main" id="{C6936715-1035-07C0-0FA5-882BEF536880}"/>
              </a:ext>
            </a:extLst>
          </p:cNvPr>
          <p:cNvSpPr txBox="1"/>
          <p:nvPr/>
        </p:nvSpPr>
        <p:spPr>
          <a:xfrm>
            <a:off x="298798" y="5048670"/>
            <a:ext cx="11654751" cy="99495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9pPr>
          </a:lstStyle>
          <a:p>
            <a:pPr marL="143996" indent="-143996" algn="just">
              <a:spcBef>
                <a:spcPts val="800"/>
              </a:spcBef>
              <a:buClr>
                <a:srgbClr val="5268A5"/>
              </a:buClr>
              <a:buFont typeface="Arial" panose="020B0604020202020204" pitchFamily="34" charset="0"/>
              <a:buChar char="•"/>
            </a:pPr>
            <a:r>
              <a:rPr lang="fr-FR" sz="1733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égration d’</a:t>
            </a:r>
            <a:r>
              <a:rPr lang="fr-FR" sz="1733" b="1" i="1" dirty="0">
                <a:solidFill>
                  <a:srgbClr val="5268A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léments de synthèse </a:t>
            </a:r>
            <a:r>
              <a:rPr lang="fr-FR" sz="1733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 de </a:t>
            </a:r>
            <a:r>
              <a:rPr lang="fr-FR" sz="1733" b="1" i="1" dirty="0">
                <a:solidFill>
                  <a:srgbClr val="5268A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viz, </a:t>
            </a:r>
            <a:r>
              <a:rPr lang="fr-FR" sz="1733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à partir de l’</a:t>
            </a:r>
            <a:r>
              <a:rPr lang="fr-FR" sz="1733" b="1" i="1" dirty="0">
                <a:solidFill>
                  <a:srgbClr val="5268A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servatoire de la eSanté</a:t>
            </a:r>
          </a:p>
          <a:p>
            <a:pPr marL="143996" indent="-143996" algn="just">
              <a:spcBef>
                <a:spcPts val="800"/>
              </a:spcBef>
              <a:buClr>
                <a:srgbClr val="5268A5"/>
              </a:buClr>
              <a:buFont typeface="Arial" panose="020B0604020202020204" pitchFamily="34" charset="0"/>
              <a:buChar char="•"/>
            </a:pPr>
            <a:r>
              <a:rPr lang="fr-FR" sz="1733" b="1" i="1" dirty="0">
                <a:solidFill>
                  <a:srgbClr val="5268A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licitation</a:t>
            </a:r>
            <a:r>
              <a:rPr lang="fr-FR" sz="1733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l’</a:t>
            </a:r>
            <a:r>
              <a:rPr lang="fr-FR" sz="1733" b="1" i="1" dirty="0">
                <a:solidFill>
                  <a:srgbClr val="5268A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fre de prestations des GRADeS </a:t>
            </a:r>
            <a:r>
              <a:rPr lang="fr-FR" sz="1733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our du service et des usages (exemple : accompagnement) et de l’articulation avec les autres projets territoriaux (BSP…)</a:t>
            </a:r>
          </a:p>
        </p:txBody>
      </p:sp>
      <p:sp>
        <p:nvSpPr>
          <p:cNvPr id="27" name="ZoneTexte 18">
            <a:extLst>
              <a:ext uri="{FF2B5EF4-FFF2-40B4-BE49-F238E27FC236}">
                <a16:creationId xmlns:a16="http://schemas.microsoft.com/office/drawing/2014/main" id="{4B6A1646-12A2-4E0C-5B81-5CAD3DDBF397}"/>
              </a:ext>
            </a:extLst>
          </p:cNvPr>
          <p:cNvSpPr txBox="1"/>
          <p:nvPr/>
        </p:nvSpPr>
        <p:spPr>
          <a:xfrm>
            <a:off x="279228" y="2554895"/>
            <a:ext cx="11613072" cy="23694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9pPr>
          </a:lstStyle>
          <a:p>
            <a:pPr marL="143996" indent="-143996" algn="just">
              <a:spcBef>
                <a:spcPts val="800"/>
              </a:spcBef>
              <a:buClr>
                <a:srgbClr val="5268A5"/>
              </a:buClr>
              <a:buFont typeface="Arial" panose="020B0604020202020204" pitchFamily="34" charset="0"/>
              <a:buChar char="•"/>
            </a:pPr>
            <a:r>
              <a:rPr lang="fr-FR" sz="1733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égration d’</a:t>
            </a:r>
            <a:r>
              <a:rPr lang="fr-FR" sz="1733" b="1" i="1" dirty="0">
                <a:solidFill>
                  <a:srgbClr val="5268A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ations complémentaires sur les typologies d’usages, des programmes transverses </a:t>
            </a:r>
            <a:r>
              <a:rPr lang="fr-FR" sz="1733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ex. financements)</a:t>
            </a:r>
            <a:r>
              <a:rPr lang="fr-FR" sz="1733" b="1" i="1" dirty="0">
                <a:solidFill>
                  <a:srgbClr val="5268A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des critères éthiques, </a:t>
            </a:r>
            <a:r>
              <a:rPr lang="fr-FR" sz="1733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…</a:t>
            </a:r>
          </a:p>
          <a:p>
            <a:pPr marL="143996" indent="-143996" algn="just">
              <a:spcBef>
                <a:spcPts val="800"/>
              </a:spcBef>
              <a:buClr>
                <a:srgbClr val="5268A5"/>
              </a:buClr>
              <a:buFont typeface="Arial" panose="020B0604020202020204" pitchFamily="34" charset="0"/>
              <a:buChar char="•"/>
            </a:pPr>
            <a:r>
              <a:rPr lang="fr-FR" sz="1733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en vers des catalogues de </a:t>
            </a:r>
            <a:r>
              <a:rPr lang="fr-FR" sz="1733" b="1" i="1" dirty="0">
                <a:solidFill>
                  <a:srgbClr val="5268A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ices territoriaux portés et/ou utilisés par des tiers et autres acteurs du territoire </a:t>
            </a:r>
            <a:r>
              <a:rPr lang="fr-FR" sz="1733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ex. ANS, URPS, ORU, GHT…)</a:t>
            </a:r>
          </a:p>
          <a:p>
            <a:pPr marL="143996" indent="-143996" algn="just">
              <a:spcBef>
                <a:spcPts val="800"/>
              </a:spcBef>
              <a:buClr>
                <a:srgbClr val="5268A5"/>
              </a:buClr>
              <a:buFont typeface="Arial" panose="020B0604020202020204" pitchFamily="34" charset="0"/>
              <a:buChar char="•"/>
            </a:pPr>
            <a:r>
              <a:rPr lang="fr-FR" sz="1733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blication des données en open source</a:t>
            </a:r>
          </a:p>
          <a:p>
            <a:pPr marL="268288" algn="just">
              <a:spcBef>
                <a:spcPts val="800"/>
              </a:spcBef>
              <a:buClr>
                <a:srgbClr val="5268A5"/>
              </a:buClr>
            </a:pPr>
            <a:r>
              <a:rPr lang="fr-FR" sz="1733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isabilité à instruire</a:t>
            </a:r>
          </a:p>
          <a:p>
            <a:pPr algn="just">
              <a:spcBef>
                <a:spcPts val="800"/>
              </a:spcBef>
              <a:buClr>
                <a:srgbClr val="5268A5"/>
              </a:buClr>
            </a:pPr>
            <a:endParaRPr lang="fr-FR" sz="1733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91832C4-8718-AF75-8E3D-E8C4E72005EA}"/>
              </a:ext>
            </a:extLst>
          </p:cNvPr>
          <p:cNvSpPr/>
          <p:nvPr/>
        </p:nvSpPr>
        <p:spPr>
          <a:xfrm>
            <a:off x="302106" y="2358690"/>
            <a:ext cx="11610665" cy="2210182"/>
          </a:xfrm>
          <a:prstGeom prst="rect">
            <a:avLst/>
          </a:prstGeom>
          <a:noFill/>
          <a:ln w="6350">
            <a:solidFill>
              <a:srgbClr val="A6A6A6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FR" sz="1867" b="1" dirty="0">
              <a:solidFill>
                <a:srgbClr val="006AB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CAF5553-23B3-4D4E-332C-3CE0CBB03EBA}"/>
              </a:ext>
            </a:extLst>
          </p:cNvPr>
          <p:cNvSpPr/>
          <p:nvPr/>
        </p:nvSpPr>
        <p:spPr>
          <a:xfrm>
            <a:off x="298797" y="4896326"/>
            <a:ext cx="11673416" cy="1299967"/>
          </a:xfrm>
          <a:prstGeom prst="rect">
            <a:avLst/>
          </a:prstGeom>
          <a:noFill/>
          <a:ln w="6350">
            <a:solidFill>
              <a:srgbClr val="A6A6A6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FR" sz="1867" b="1" dirty="0">
              <a:solidFill>
                <a:srgbClr val="006AB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ZoneTexte 21">
            <a:extLst>
              <a:ext uri="{FF2B5EF4-FFF2-40B4-BE49-F238E27FC236}">
                <a16:creationId xmlns:a16="http://schemas.microsoft.com/office/drawing/2014/main" id="{96B2BFDB-AFD3-0D10-FFA1-0B54948ABAA2}"/>
              </a:ext>
            </a:extLst>
          </p:cNvPr>
          <p:cNvSpPr txBox="1"/>
          <p:nvPr/>
        </p:nvSpPr>
        <p:spPr>
          <a:xfrm>
            <a:off x="699560" y="4750812"/>
            <a:ext cx="3409241" cy="280661"/>
          </a:xfrm>
          <a:prstGeom prst="rect">
            <a:avLst/>
          </a:prstGeom>
          <a:solidFill>
            <a:schemeClr val="bg1"/>
          </a:solidFill>
        </p:spPr>
        <p:txBody>
          <a:bodyPr wrap="square" lIns="96000" tIns="144000" rIns="96000" bIns="144000" rtlCol="0" anchor="ctr" anchorCtr="0">
            <a:noAutofit/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9pPr>
          </a:lstStyle>
          <a:p>
            <a:pPr algn="just"/>
            <a:r>
              <a:rPr lang="fr-FR" sz="1867" b="1" i="1" dirty="0">
                <a:solidFill>
                  <a:schemeClr val="bg1"/>
                </a:solidFill>
                <a:highlight>
                  <a:srgbClr val="C7176A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Enrichissements éditoriaux</a:t>
            </a:r>
          </a:p>
        </p:txBody>
      </p:sp>
      <p:sp>
        <p:nvSpPr>
          <p:cNvPr id="31" name="ZoneTexte 22">
            <a:extLst>
              <a:ext uri="{FF2B5EF4-FFF2-40B4-BE49-F238E27FC236}">
                <a16:creationId xmlns:a16="http://schemas.microsoft.com/office/drawing/2014/main" id="{E49138E9-9F94-F7F3-37F5-743B2B08F7D0}"/>
              </a:ext>
            </a:extLst>
          </p:cNvPr>
          <p:cNvSpPr txBox="1"/>
          <p:nvPr/>
        </p:nvSpPr>
        <p:spPr>
          <a:xfrm>
            <a:off x="636809" y="2243455"/>
            <a:ext cx="3668441" cy="274957"/>
          </a:xfrm>
          <a:prstGeom prst="rect">
            <a:avLst/>
          </a:prstGeom>
          <a:solidFill>
            <a:schemeClr val="bg1"/>
          </a:solidFill>
        </p:spPr>
        <p:txBody>
          <a:bodyPr wrap="square" lIns="96000" tIns="144000" rIns="96000" bIns="144000" rtlCol="0" anchor="ctr" anchorCtr="0">
            <a:noAutofit/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9pPr>
          </a:lstStyle>
          <a:p>
            <a:pPr algn="just"/>
            <a:r>
              <a:rPr lang="fr-FR" sz="1867" b="1" i="1" dirty="0">
                <a:solidFill>
                  <a:schemeClr val="bg1"/>
                </a:solidFill>
                <a:highlight>
                  <a:srgbClr val="C7176A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Compléments envisageables</a:t>
            </a:r>
          </a:p>
        </p:txBody>
      </p:sp>
      <p:sp>
        <p:nvSpPr>
          <p:cNvPr id="32" name="ZoneTexte 23">
            <a:extLst>
              <a:ext uri="{FF2B5EF4-FFF2-40B4-BE49-F238E27FC236}">
                <a16:creationId xmlns:a16="http://schemas.microsoft.com/office/drawing/2014/main" id="{2048BAB9-DE4F-F2EF-8FF9-EC870A0A0BC6}"/>
              </a:ext>
            </a:extLst>
          </p:cNvPr>
          <p:cNvSpPr txBox="1"/>
          <p:nvPr/>
        </p:nvSpPr>
        <p:spPr>
          <a:xfrm>
            <a:off x="661787" y="1170832"/>
            <a:ext cx="1939813" cy="280661"/>
          </a:xfrm>
          <a:prstGeom prst="rect">
            <a:avLst/>
          </a:prstGeom>
          <a:solidFill>
            <a:schemeClr val="bg1"/>
          </a:solidFill>
        </p:spPr>
        <p:txBody>
          <a:bodyPr wrap="square" lIns="96000" tIns="144000" rIns="96000" bIns="144000" rtlCol="0" anchor="ctr" anchorCtr="0">
            <a:noAutofit/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9pPr>
          </a:lstStyle>
          <a:p>
            <a:pPr algn="just"/>
            <a:r>
              <a:rPr lang="fr-FR" sz="1867" b="1" i="1" dirty="0">
                <a:solidFill>
                  <a:schemeClr val="bg1"/>
                </a:solidFill>
                <a:highlight>
                  <a:srgbClr val="C7176A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Mises à jour</a:t>
            </a:r>
          </a:p>
        </p:txBody>
      </p:sp>
      <p:pic>
        <p:nvPicPr>
          <p:cNvPr id="6" name="Graphique 5" descr="Gribouille contour">
            <a:extLst>
              <a:ext uri="{FF2B5EF4-FFF2-40B4-BE49-F238E27FC236}">
                <a16:creationId xmlns:a16="http://schemas.microsoft.com/office/drawing/2014/main" id="{F920B23C-A512-F61D-3B50-DE3AE00D7AA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54543" y="4676019"/>
            <a:ext cx="431195" cy="431195"/>
          </a:xfrm>
          <a:prstGeom prst="rect">
            <a:avLst/>
          </a:prstGeom>
        </p:spPr>
      </p:pic>
      <p:pic>
        <p:nvPicPr>
          <p:cNvPr id="8" name="Graphique 7" descr="Avertissement contour">
            <a:extLst>
              <a:ext uri="{FF2B5EF4-FFF2-40B4-BE49-F238E27FC236}">
                <a16:creationId xmlns:a16="http://schemas.microsoft.com/office/drawing/2014/main" id="{D8F3EA44-8680-6DCC-9B61-6C72A01DE4B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20367" y="4226373"/>
            <a:ext cx="220567" cy="220567"/>
          </a:xfrm>
          <a:prstGeom prst="rect">
            <a:avLst/>
          </a:prstGeom>
        </p:spPr>
      </p:pic>
      <p:sp>
        <p:nvSpPr>
          <p:cNvPr id="9" name="Espace réservé du pied de page 8">
            <a:extLst>
              <a:ext uri="{FF2B5EF4-FFF2-40B4-BE49-F238E27FC236}">
                <a16:creationId xmlns:a16="http://schemas.microsoft.com/office/drawing/2014/main" id="{A737C6BB-A2A4-18AD-0325-DF502806F521}"/>
              </a:ext>
            </a:extLst>
          </p:cNvPr>
          <p:cNvSpPr txBox="1">
            <a:spLocks/>
          </p:cNvSpPr>
          <p:nvPr/>
        </p:nvSpPr>
        <p:spPr>
          <a:xfrm>
            <a:off x="0" y="6484938"/>
            <a:ext cx="92360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>
                <a:latin typeface="Arial" panose="020B0604020202020204" pitchFamily="34" charset="0"/>
                <a:cs typeface="Arial" panose="020B0604020202020204" pitchFamily="34" charset="0"/>
              </a:rPr>
              <a:t>Atelier SantExpo | 21/05/2024</a:t>
            </a:r>
          </a:p>
        </p:txBody>
      </p:sp>
    </p:spTree>
    <p:extLst>
      <p:ext uri="{BB962C8B-B14F-4D97-AF65-F5344CB8AC3E}">
        <p14:creationId xmlns:p14="http://schemas.microsoft.com/office/powerpoint/2010/main" val="42475439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  <p:bldP spid="27" grpId="0"/>
      <p:bldP spid="28" grpId="0" animBg="1"/>
      <p:bldP spid="29" grpId="0" animBg="1"/>
      <p:bldP spid="30" grpId="0" animBg="1"/>
      <p:bldP spid="31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numéro de diapositive 2">
            <a:extLst>
              <a:ext uri="{FF2B5EF4-FFF2-40B4-BE49-F238E27FC236}">
                <a16:creationId xmlns:a16="http://schemas.microsoft.com/office/drawing/2014/main" id="{349A3651-8FEB-DCD2-1137-01B7D2B64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492876"/>
            <a:ext cx="383117" cy="365125"/>
          </a:xfrm>
        </p:spPr>
        <p:txBody>
          <a:bodyPr/>
          <a:lstStyle/>
          <a:p>
            <a:fld id="{646E7B68-C406-4B5C-B79D-A1CDE10CB85D}" type="slidenum">
              <a:rPr lang="fr-FR" smtClean="0"/>
              <a:pPr/>
              <a:t>11</a:t>
            </a:fld>
            <a:endParaRPr lang="fr-FR" dirty="0"/>
          </a:p>
        </p:txBody>
      </p:sp>
      <p:sp>
        <p:nvSpPr>
          <p:cNvPr id="10" name="Titre 1">
            <a:extLst>
              <a:ext uri="{FF2B5EF4-FFF2-40B4-BE49-F238E27FC236}">
                <a16:creationId xmlns:a16="http://schemas.microsoft.com/office/drawing/2014/main" id="{EC06F4F5-4A4A-87F8-B6CB-A9FCB168678C}"/>
              </a:ext>
            </a:extLst>
          </p:cNvPr>
          <p:cNvSpPr txBox="1">
            <a:spLocks/>
          </p:cNvSpPr>
          <p:nvPr/>
        </p:nvSpPr>
        <p:spPr>
          <a:xfrm>
            <a:off x="1105196" y="115200"/>
            <a:ext cx="9070435" cy="72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1219140" rtl="0" eaLnBrk="1" latinLnBrk="0" hangingPunct="1">
              <a:lnSpc>
                <a:spcPts val="2933"/>
              </a:lnSpc>
              <a:spcBef>
                <a:spcPct val="0"/>
              </a:spcBef>
              <a:buNone/>
              <a:defRPr sz="2667" b="1" kern="1200">
                <a:solidFill>
                  <a:srgbClr val="006AB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lnSpc>
                <a:spcPts val="2500"/>
              </a:lnSpc>
            </a:pPr>
            <a:r>
              <a:rPr lang="fr-FR" sz="2400" dirty="0">
                <a:latin typeface="Arial" panose="020B0604020202020204" pitchFamily="34" charset="0"/>
                <a:cs typeface="Arial" panose="020B0604020202020204" pitchFamily="34" charset="0"/>
              </a:rPr>
              <a:t>Vos questions, vos réactions ?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22DB5CDE-C915-C357-3DF2-63F68F50F99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03102" y="-8367"/>
            <a:ext cx="1788141" cy="529104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5F167306-88E2-E3DC-1793-EBF1BB44CF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1100" y="2683121"/>
            <a:ext cx="2209800" cy="2273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Espace réservé du pied de page 8">
            <a:extLst>
              <a:ext uri="{FF2B5EF4-FFF2-40B4-BE49-F238E27FC236}">
                <a16:creationId xmlns:a16="http://schemas.microsoft.com/office/drawing/2014/main" id="{625F4661-E920-F96C-B9FC-18ACAA4A1EE5}"/>
              </a:ext>
            </a:extLst>
          </p:cNvPr>
          <p:cNvSpPr txBox="1">
            <a:spLocks/>
          </p:cNvSpPr>
          <p:nvPr/>
        </p:nvSpPr>
        <p:spPr>
          <a:xfrm>
            <a:off x="0" y="6484938"/>
            <a:ext cx="92360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>
                <a:latin typeface="Arial" panose="020B0604020202020204" pitchFamily="34" charset="0"/>
                <a:cs typeface="Arial" panose="020B0604020202020204" pitchFamily="34" charset="0"/>
              </a:rPr>
              <a:t>Atelier SantExpo | 21/05/2024</a:t>
            </a:r>
          </a:p>
        </p:txBody>
      </p:sp>
    </p:spTree>
    <p:extLst>
      <p:ext uri="{BB962C8B-B14F-4D97-AF65-F5344CB8AC3E}">
        <p14:creationId xmlns:p14="http://schemas.microsoft.com/office/powerpoint/2010/main" val="4143485134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71D4623A-066F-0087-1DF0-2206481570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492876"/>
            <a:ext cx="383117" cy="365125"/>
          </a:xfrm>
        </p:spPr>
        <p:txBody>
          <a:bodyPr/>
          <a:lstStyle/>
          <a:p>
            <a:fld id="{646E7B68-C406-4B5C-B79D-A1CDE10CB85D}" type="slidenum">
              <a:rPr lang="fr-FR" smtClean="0"/>
              <a:pPr/>
              <a:t>12</a:t>
            </a:fld>
            <a:endParaRPr lang="fr-FR" dirty="0"/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E8AEC213-E63E-C781-5A2B-16CB79278CDF}"/>
              </a:ext>
            </a:extLst>
          </p:cNvPr>
          <p:cNvSpPr txBox="1"/>
          <p:nvPr/>
        </p:nvSpPr>
        <p:spPr>
          <a:xfrm>
            <a:off x="2394457" y="584261"/>
            <a:ext cx="7519239" cy="3166993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rmAutofit/>
          </a:bodyPr>
          <a:lstStyle/>
          <a:p>
            <a:pPr algn="ctr"/>
            <a:r>
              <a:rPr lang="fr-FR" sz="3000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rci pour votre attention et vos retours</a:t>
            </a:r>
          </a:p>
          <a:p>
            <a:pPr algn="ctr"/>
            <a:endParaRPr lang="fr-FR" sz="3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fr-FR" sz="3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E48FD38B-905F-4BB3-67A6-4A3BC7D5BEC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03102" y="-8367"/>
            <a:ext cx="1788141" cy="529104"/>
          </a:xfrm>
          <a:prstGeom prst="rect">
            <a:avLst/>
          </a:prstGeom>
        </p:spPr>
      </p:pic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3F3562C6-951F-73B1-E57F-D4B22118D12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fr-FR" dirty="0">
                <a:latin typeface="Arial"/>
                <a:ea typeface="+mn-ea"/>
              </a:rPr>
              <a:t>Atelier Santexpo | 21/05/2024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2C2A1B5E-2514-F10E-7D19-C9B82051885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44151" y="2008527"/>
            <a:ext cx="5596501" cy="447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6065494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4294967295"/>
          </p:nvPr>
        </p:nvSpPr>
        <p:spPr>
          <a:xfrm>
            <a:off x="11808885" y="6489700"/>
            <a:ext cx="383116" cy="179917"/>
          </a:xfrm>
        </p:spPr>
        <p:txBody>
          <a:bodyPr/>
          <a:lstStyle/>
          <a:p>
            <a:fld id="{646E7B68-C406-4B5C-B79D-A1CDE10CB85D}" type="slidenum">
              <a:rPr lang="fr-FR" smtClean="0"/>
              <a:pPr/>
              <a:t>13</a:t>
            </a:fld>
            <a:endParaRPr lang="fr-FR" dirty="0"/>
          </a:p>
        </p:txBody>
      </p:sp>
      <p:pic>
        <p:nvPicPr>
          <p:cNvPr id="2" name="Image 1" descr="Une image contenant texte&#10;&#10;Description générée automatiquement">
            <a:extLst>
              <a:ext uri="{FF2B5EF4-FFF2-40B4-BE49-F238E27FC236}">
                <a16:creationId xmlns:a16="http://schemas.microsoft.com/office/drawing/2014/main" id="{540895F1-77D8-A034-1F5D-636C0223F2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14495" y="451536"/>
            <a:ext cx="1184744" cy="236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6957140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AE10913-0377-4AD5-97ED-BB236278C57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20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AEA104F8-3CB1-4450-B536-40BD4D8B71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8843" y="282754"/>
            <a:ext cx="2743200" cy="1059135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3D569CC0-E9DD-4DBB-8627-BC2A20E8AC4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7870" r="25359" b="38"/>
          <a:stretch/>
        </p:blipFill>
        <p:spPr>
          <a:xfrm>
            <a:off x="7398589" y="-1420"/>
            <a:ext cx="4794784" cy="7679754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727EDC0B-5A19-4AA1-9F3D-FD6C1836F324}"/>
              </a:ext>
            </a:extLst>
          </p:cNvPr>
          <p:cNvSpPr txBox="1"/>
          <p:nvPr/>
        </p:nvSpPr>
        <p:spPr>
          <a:xfrm>
            <a:off x="483956" y="2121276"/>
            <a:ext cx="7191167" cy="30825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400"/>
              </a:lnSpc>
            </a:pPr>
            <a:endParaRPr lang="fr-FR" sz="2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ts val="2400"/>
              </a:lnSpc>
            </a:pPr>
            <a:r>
              <a:rPr lang="fr-FR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quoi une cartographie des services numériques régionaux ?</a:t>
            </a:r>
          </a:p>
          <a:p>
            <a:pPr>
              <a:lnSpc>
                <a:spcPts val="2400"/>
              </a:lnSpc>
            </a:pPr>
            <a:endParaRPr lang="fr-FR" sz="2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ts val="2400"/>
              </a:lnSpc>
            </a:pPr>
            <a:r>
              <a:rPr lang="fr-FR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e présente cette première version de la cartographie ?</a:t>
            </a:r>
          </a:p>
          <a:p>
            <a:pPr>
              <a:lnSpc>
                <a:spcPts val="2400"/>
              </a:lnSpc>
            </a:pPr>
            <a:endParaRPr lang="fr-FR" sz="2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ts val="2400"/>
              </a:lnSpc>
            </a:pPr>
            <a:r>
              <a:rPr lang="fr-FR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elles évolutions possibles ?</a:t>
            </a:r>
          </a:p>
          <a:p>
            <a:pPr>
              <a:lnSpc>
                <a:spcPts val="2400"/>
              </a:lnSpc>
            </a:pPr>
            <a:endParaRPr lang="fr-FR" sz="2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ts val="2400"/>
              </a:lnSpc>
            </a:pPr>
            <a:r>
              <a:rPr lang="fr-FR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s réactions et questions ?</a:t>
            </a:r>
          </a:p>
        </p:txBody>
      </p:sp>
      <p:pic>
        <p:nvPicPr>
          <p:cNvPr id="7" name="Image 6" descr="Une image contenant texte&#10;&#10;Description générée automatiquement">
            <a:extLst>
              <a:ext uri="{FF2B5EF4-FFF2-40B4-BE49-F238E27FC236}">
                <a16:creationId xmlns:a16="http://schemas.microsoft.com/office/drawing/2014/main" id="{287B7A6C-CA86-2F60-8809-D94A561C9C2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97280" y="381422"/>
            <a:ext cx="1253310" cy="250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44625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Rectangle 84">
            <a:extLst>
              <a:ext uri="{FF2B5EF4-FFF2-40B4-BE49-F238E27FC236}">
                <a16:creationId xmlns:a16="http://schemas.microsoft.com/office/drawing/2014/main" id="{6842C6EA-0685-A8DE-8BD0-DA60E4BC20BC}"/>
              </a:ext>
            </a:extLst>
          </p:cNvPr>
          <p:cNvSpPr/>
          <p:nvPr/>
        </p:nvSpPr>
        <p:spPr>
          <a:xfrm>
            <a:off x="446096" y="3958167"/>
            <a:ext cx="7534157" cy="2372180"/>
          </a:xfrm>
          <a:prstGeom prst="rect">
            <a:avLst/>
          </a:prstGeom>
          <a:solidFill>
            <a:srgbClr val="F2F2F2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42" indent="-171442" algn="just">
              <a:buClr>
                <a:srgbClr val="006AB2"/>
              </a:buClr>
              <a:buFont typeface="Wingdings" panose="05000000000000000000" pitchFamily="2" charset="2"/>
              <a:buChar char="ü"/>
            </a:pPr>
            <a:endParaRPr lang="fr-FR" sz="12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D37C4027-1455-795A-F079-16289826E1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34146" y="3757371"/>
            <a:ext cx="1486045" cy="836219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9C0F0576-5BAD-AFBC-56B7-2699DCA7311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11313" y="4910359"/>
            <a:ext cx="1057032" cy="645840"/>
          </a:xfrm>
          <a:prstGeom prst="rect">
            <a:avLst/>
          </a:prstGeom>
        </p:spPr>
      </p:pic>
      <p:sp>
        <p:nvSpPr>
          <p:cNvPr id="14" name="Espace réservé du numéro de diapositive 2">
            <a:extLst>
              <a:ext uri="{FF2B5EF4-FFF2-40B4-BE49-F238E27FC236}">
                <a16:creationId xmlns:a16="http://schemas.microsoft.com/office/drawing/2014/main" id="{349A3651-8FEB-DCD2-1137-01B7D2B64AE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492875"/>
            <a:ext cx="382588" cy="365125"/>
          </a:xfrm>
        </p:spPr>
        <p:txBody>
          <a:bodyPr/>
          <a:lstStyle/>
          <a:p>
            <a:fld id="{646E7B68-C406-4B5C-B79D-A1CDE10CB85D}" type="slidenum">
              <a:rPr lang="fr-FR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3</a:t>
            </a:fld>
            <a:endParaRPr lang="fr-F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Espace réservé du pied de page 8">
            <a:extLst>
              <a:ext uri="{FF2B5EF4-FFF2-40B4-BE49-F238E27FC236}">
                <a16:creationId xmlns:a16="http://schemas.microsoft.com/office/drawing/2014/main" id="{F8089F0D-0DD0-CEA8-3451-48B6DC11F7A4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484938"/>
            <a:ext cx="9236075" cy="365125"/>
          </a:xfrm>
        </p:spPr>
        <p:txBody>
          <a:bodyPr/>
          <a:lstStyle/>
          <a:p>
            <a:r>
              <a:rPr lang="fr-FR" dirty="0">
                <a:latin typeface="Arial" panose="020B0604020202020204" pitchFamily="34" charset="0"/>
                <a:cs typeface="Arial" panose="020B0604020202020204" pitchFamily="34" charset="0"/>
              </a:rPr>
              <a:t>Atelier SantExpo | 21/05/2024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DC4757E-B380-5D7E-DC6B-214FA7980FDA}"/>
              </a:ext>
            </a:extLst>
          </p:cNvPr>
          <p:cNvSpPr/>
          <p:nvPr/>
        </p:nvSpPr>
        <p:spPr>
          <a:xfrm>
            <a:off x="265719" y="1319346"/>
            <a:ext cx="11673416" cy="5103055"/>
          </a:xfrm>
          <a:prstGeom prst="rect">
            <a:avLst/>
          </a:prstGeom>
          <a:noFill/>
          <a:ln w="6350">
            <a:solidFill>
              <a:srgbClr val="A6A6A6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fr-FR" sz="1867" b="1" dirty="0">
              <a:solidFill>
                <a:srgbClr val="006AB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ZoneTexte 26">
            <a:extLst>
              <a:ext uri="{FF2B5EF4-FFF2-40B4-BE49-F238E27FC236}">
                <a16:creationId xmlns:a16="http://schemas.microsoft.com/office/drawing/2014/main" id="{D3E0F3DE-C107-EF96-9687-1454127D4BB9}"/>
              </a:ext>
            </a:extLst>
          </p:cNvPr>
          <p:cNvSpPr txBox="1"/>
          <p:nvPr/>
        </p:nvSpPr>
        <p:spPr>
          <a:xfrm>
            <a:off x="383118" y="1008205"/>
            <a:ext cx="5192060" cy="610889"/>
          </a:xfrm>
          <a:prstGeom prst="rect">
            <a:avLst/>
          </a:prstGeom>
          <a:noFill/>
        </p:spPr>
        <p:txBody>
          <a:bodyPr wrap="square" lIns="96000" tIns="144000" rIns="96000" bIns="144000" rtlCol="0" anchor="ctr" anchorCtr="0">
            <a:noAutofit/>
          </a:bodyPr>
          <a:lstStyle/>
          <a:p>
            <a:pPr algn="just"/>
            <a:r>
              <a:rPr lang="fr-FR" sz="1867" b="1" i="1" dirty="0">
                <a:solidFill>
                  <a:schemeClr val="bg1"/>
                </a:solidFill>
                <a:highlight>
                  <a:srgbClr val="006AB2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Un projet du Programme CoMET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0F9CA8AA-9085-409F-93DC-07AA2E73B26D}"/>
              </a:ext>
            </a:extLst>
          </p:cNvPr>
          <p:cNvSpPr/>
          <p:nvPr/>
        </p:nvSpPr>
        <p:spPr>
          <a:xfrm>
            <a:off x="436127" y="1768896"/>
            <a:ext cx="372863" cy="28522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ZoneTexte 67">
            <a:extLst>
              <a:ext uri="{FF2B5EF4-FFF2-40B4-BE49-F238E27FC236}">
                <a16:creationId xmlns:a16="http://schemas.microsoft.com/office/drawing/2014/main" id="{2CA0F856-6511-94C4-D1B5-F38DF5AB3E50}"/>
              </a:ext>
            </a:extLst>
          </p:cNvPr>
          <p:cNvSpPr txBox="1"/>
          <p:nvPr/>
        </p:nvSpPr>
        <p:spPr>
          <a:xfrm>
            <a:off x="436127" y="2423291"/>
            <a:ext cx="11341267" cy="9543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fr-FR" altLang="fr-FR" sz="1867" i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orter avec les territoires, des services et produits à valeur ajoutée,</a:t>
            </a:r>
          </a:p>
          <a:p>
            <a:pPr algn="ctr"/>
            <a:r>
              <a:rPr lang="fr-FR" altLang="fr-FR" sz="1867" i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 accélérant la </a:t>
            </a:r>
            <a:r>
              <a:rPr lang="fr-FR" altLang="fr-FR" sz="1867" b="1" i="1" kern="0" dirty="0">
                <a:solidFill>
                  <a:srgbClr val="D20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vergence</a:t>
            </a:r>
            <a:r>
              <a:rPr lang="fr-FR" altLang="fr-FR" sz="1867" b="1" i="1" kern="0" dirty="0">
                <a:solidFill>
                  <a:srgbClr val="006AB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la mutualisation et l'efficience territoriale</a:t>
            </a:r>
          </a:p>
          <a:p>
            <a:pPr algn="ctr"/>
            <a:r>
              <a:rPr lang="fr-FR" altLang="fr-FR" sz="1867" i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 en améliorant la</a:t>
            </a:r>
            <a:r>
              <a:rPr lang="fr-FR" altLang="fr-FR" sz="1867" b="1" i="1" kern="0" dirty="0">
                <a:solidFill>
                  <a:srgbClr val="006AB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867" b="1" i="1" kern="0" dirty="0">
                <a:solidFill>
                  <a:srgbClr val="D20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sibilité</a:t>
            </a:r>
            <a:r>
              <a:rPr lang="fr-FR" altLang="fr-FR" sz="1867" b="1" i="1" kern="0" dirty="0">
                <a:solidFill>
                  <a:srgbClr val="006AB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s services numériques territoriaux</a:t>
            </a:r>
            <a:endParaRPr lang="fr-FR" altLang="fr-FR" sz="1867" i="1" kern="0" dirty="0">
              <a:solidFill>
                <a:srgbClr val="006AB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6" name="ZoneTexte 85">
            <a:extLst>
              <a:ext uri="{FF2B5EF4-FFF2-40B4-BE49-F238E27FC236}">
                <a16:creationId xmlns:a16="http://schemas.microsoft.com/office/drawing/2014/main" id="{A9382084-BA03-5804-7125-4BFC38AE3FB0}"/>
              </a:ext>
            </a:extLst>
          </p:cNvPr>
          <p:cNvSpPr txBox="1"/>
          <p:nvPr/>
        </p:nvSpPr>
        <p:spPr>
          <a:xfrm>
            <a:off x="833939" y="3856457"/>
            <a:ext cx="3791849" cy="230819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r>
              <a:rPr lang="fr-FR" sz="1867" b="1" i="1" kern="0" dirty="0">
                <a:solidFill>
                  <a:schemeClr val="bg1">
                    <a:lumMod val="95000"/>
                  </a:schemeClr>
                </a:solidFill>
                <a:highlight>
                  <a:srgbClr val="00808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Une gouvernance collégiale</a:t>
            </a:r>
          </a:p>
        </p:txBody>
      </p:sp>
      <p:pic>
        <p:nvPicPr>
          <p:cNvPr id="88" name="Graphique 87" descr="Utilisateurs avec un remplissage uni">
            <a:extLst>
              <a:ext uri="{FF2B5EF4-FFF2-40B4-BE49-F238E27FC236}">
                <a16:creationId xmlns:a16="http://schemas.microsoft.com/office/drawing/2014/main" id="{8D302A3D-ABAB-E50E-C36E-0BC2AE5FE44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77497" y="3790413"/>
            <a:ext cx="384000" cy="384000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:a16="http://schemas.microsoft.com/office/drawing/2014/main" id="{8C2826FA-1715-91D2-800F-D448E6E9C451}"/>
              </a:ext>
            </a:extLst>
          </p:cNvPr>
          <p:cNvSpPr/>
          <p:nvPr/>
        </p:nvSpPr>
        <p:spPr>
          <a:xfrm>
            <a:off x="327624" y="4092840"/>
            <a:ext cx="7736112" cy="2280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20" tIns="60960" rIns="121920" bIns="60960" rtlCol="0" anchor="ctr"/>
          <a:lstStyle/>
          <a:p>
            <a:pPr marL="171022" indent="-171022" algn="just">
              <a:spcBef>
                <a:spcPts val="800"/>
              </a:spcBef>
              <a:buClr>
                <a:srgbClr val="006AB2"/>
              </a:buClr>
              <a:buFont typeface="Wingdings" panose="05000000000000000000" pitchFamily="2" charset="2"/>
              <a:buChar char="ü"/>
            </a:pPr>
            <a:r>
              <a:rPr lang="fr-FR" sz="1733" b="1" dirty="0">
                <a:solidFill>
                  <a:srgbClr val="006AB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lotage stratégique </a:t>
            </a:r>
            <a:r>
              <a:rPr lang="fr-FR" sz="1733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la </a:t>
            </a:r>
            <a:r>
              <a:rPr lang="fr-FR" sz="1733" b="1" dirty="0">
                <a:solidFill>
                  <a:srgbClr val="006AB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élégation du Numérique en Santé (DNS)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022" indent="-171022" algn="just">
              <a:spcBef>
                <a:spcPts val="800"/>
              </a:spcBef>
              <a:buClr>
                <a:srgbClr val="006AB2"/>
              </a:buClr>
              <a:buFont typeface="Wingdings" panose="05000000000000000000" pitchFamily="2" charset="2"/>
              <a:buChar char="ü"/>
            </a:pPr>
            <a:r>
              <a:rPr lang="fr-FR" sz="1733" b="1" dirty="0">
                <a:solidFill>
                  <a:srgbClr val="006AB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lotage</a:t>
            </a:r>
            <a:r>
              <a:rPr lang="fr-FR" sz="1733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t </a:t>
            </a:r>
            <a:r>
              <a:rPr lang="fr-FR" sz="1733" b="1" dirty="0">
                <a:solidFill>
                  <a:srgbClr val="006AB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ibutions opérationnelles </a:t>
            </a:r>
            <a:r>
              <a:rPr lang="fr-FR" sz="1733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l’</a:t>
            </a:r>
            <a:r>
              <a:rPr lang="fr-FR" sz="1733" b="1" dirty="0">
                <a:solidFill>
                  <a:srgbClr val="006AB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S</a:t>
            </a:r>
          </a:p>
          <a:p>
            <a:pPr marL="171022" indent="-171022" algn="just">
              <a:spcBef>
                <a:spcPts val="800"/>
              </a:spcBef>
              <a:buClr>
                <a:srgbClr val="006AB2"/>
              </a:buClr>
              <a:buFont typeface="Wingdings" panose="05000000000000000000" pitchFamily="2" charset="2"/>
              <a:buChar char="ü"/>
            </a:pPr>
            <a:r>
              <a:rPr lang="fr-FR" sz="1733" b="1" dirty="0">
                <a:solidFill>
                  <a:srgbClr val="006AB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-construction </a:t>
            </a:r>
            <a:r>
              <a:rPr lang="fr-FR" sz="1733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 </a:t>
            </a:r>
            <a:r>
              <a:rPr lang="fr-FR" sz="1733" b="1" dirty="0">
                <a:solidFill>
                  <a:srgbClr val="006AB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ibutions opérationnelles </a:t>
            </a:r>
            <a:r>
              <a:rPr lang="fr-FR" sz="1733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 </a:t>
            </a:r>
            <a:r>
              <a:rPr lang="fr-FR" sz="1733" b="1" dirty="0">
                <a:solidFill>
                  <a:srgbClr val="006AB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S et GRADeS</a:t>
            </a:r>
            <a:endParaRPr lang="fr-FR" sz="1733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022" indent="-171022" algn="just">
              <a:spcBef>
                <a:spcPts val="800"/>
              </a:spcBef>
              <a:buClr>
                <a:srgbClr val="006AB2"/>
              </a:buClr>
              <a:buFont typeface="Wingdings" panose="05000000000000000000" pitchFamily="2" charset="2"/>
              <a:buChar char="ü"/>
            </a:pPr>
            <a:r>
              <a:rPr lang="fr-FR" sz="1733" b="1" dirty="0">
                <a:solidFill>
                  <a:srgbClr val="006AB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ibutions </a:t>
            </a:r>
            <a:r>
              <a:rPr lang="fr-FR" sz="1733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 acteurs nationaux (</a:t>
            </a:r>
            <a:r>
              <a:rPr lang="fr-FR" sz="1733" b="1" dirty="0">
                <a:solidFill>
                  <a:srgbClr val="006AB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OS, CNAM, CNSA</a:t>
            </a:r>
            <a:r>
              <a:rPr lang="fr-FR" sz="1733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0E2C7EF0-7A9D-3A18-9C68-D6332A6AED49}"/>
              </a:ext>
            </a:extLst>
          </p:cNvPr>
          <p:cNvSpPr txBox="1"/>
          <p:nvPr/>
        </p:nvSpPr>
        <p:spPr>
          <a:xfrm>
            <a:off x="873972" y="1770877"/>
            <a:ext cx="1830296" cy="331324"/>
          </a:xfrm>
          <a:prstGeom prst="rect">
            <a:avLst/>
          </a:prstGeom>
          <a:solidFill>
            <a:schemeClr val="bg1"/>
          </a:solidFill>
        </p:spPr>
        <p:txBody>
          <a:bodyPr wrap="square" lIns="72000" tIns="108000" rIns="72000" bIns="108000" rtlCol="0" anchor="ctr" anchorCtr="0">
            <a:noAutofit/>
          </a:bodyPr>
          <a:lstStyle/>
          <a:p>
            <a:r>
              <a:rPr lang="fr-FR" sz="1867" b="1" i="1" dirty="0">
                <a:latin typeface="Arial" panose="020B0604020202020204" pitchFamily="34" charset="0"/>
                <a:cs typeface="Arial" panose="020B0604020202020204" pitchFamily="34" charset="0"/>
              </a:rPr>
              <a:t>CoMET pour…</a:t>
            </a:r>
          </a:p>
        </p:txBody>
      </p:sp>
      <p:pic>
        <p:nvPicPr>
          <p:cNvPr id="37" name="Graphique 36" descr="Lumières allumées avec un remplissage uni">
            <a:extLst>
              <a:ext uri="{FF2B5EF4-FFF2-40B4-BE49-F238E27FC236}">
                <a16:creationId xmlns:a16="http://schemas.microsoft.com/office/drawing/2014/main" id="{F9FF4108-87FF-E8E3-63FD-D48889AEF35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77497" y="1756385"/>
            <a:ext cx="384000" cy="384000"/>
          </a:xfrm>
          <a:prstGeom prst="rect">
            <a:avLst/>
          </a:prstGeom>
        </p:spPr>
      </p:pic>
      <p:sp>
        <p:nvSpPr>
          <p:cNvPr id="23" name="Arrondir un rectangle avec un coin diagonal 12">
            <a:extLst>
              <a:ext uri="{FF2B5EF4-FFF2-40B4-BE49-F238E27FC236}">
                <a16:creationId xmlns:a16="http://schemas.microsoft.com/office/drawing/2014/main" id="{9051FEAA-C21C-DB1E-FFE5-90DAA229FFF9}"/>
              </a:ext>
            </a:extLst>
          </p:cNvPr>
          <p:cNvSpPr/>
          <p:nvPr/>
        </p:nvSpPr>
        <p:spPr>
          <a:xfrm>
            <a:off x="2630539" y="1699503"/>
            <a:ext cx="8340491" cy="506763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ysDot"/>
          </a:ln>
          <a:effectLst/>
        </p:spPr>
        <p:txBody>
          <a:bodyPr lIns="96000" tIns="96000" rIns="144000" bIns="96000" numCol="1" rtlCol="0" anchor="t"/>
          <a:lstStyle/>
          <a:p>
            <a:pPr marL="0" lvl="1" algn="just" defTabSz="721749">
              <a:spcBef>
                <a:spcPts val="1200"/>
              </a:spcBef>
              <a:buClr>
                <a:srgbClr val="006AB2"/>
              </a:buClr>
            </a:pPr>
            <a:r>
              <a:rPr lang="fr-FR" altLang="fr-FR" sz="1867" b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</a:t>
            </a:r>
            <a:r>
              <a:rPr lang="fr-FR" altLang="fr-FR" sz="1867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vergence,</a:t>
            </a:r>
            <a:r>
              <a:rPr lang="fr-FR" altLang="fr-FR" sz="1867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867" b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  <a:r>
              <a:rPr lang="fr-FR" altLang="fr-FR" sz="1867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ualisation, </a:t>
            </a:r>
            <a:r>
              <a:rPr lang="fr-FR" altLang="fr-FR" sz="1867" b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fr-FR" altLang="fr-FR" sz="1867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ficience</a:t>
            </a:r>
            <a:r>
              <a:rPr lang="fr-FR" altLang="fr-FR" sz="1867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867" b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fr-FR" altLang="fr-FR" sz="1867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ritoriale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974793BB-792A-3BFA-DA87-F8808A8094C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27185" y="4284978"/>
            <a:ext cx="1115863" cy="708705"/>
          </a:xfrm>
          <a:prstGeom prst="rect">
            <a:avLst/>
          </a:prstGeom>
        </p:spPr>
      </p:pic>
      <p:pic>
        <p:nvPicPr>
          <p:cNvPr id="7" name="Graphique 6">
            <a:extLst>
              <a:ext uri="{FF2B5EF4-FFF2-40B4-BE49-F238E27FC236}">
                <a16:creationId xmlns:a16="http://schemas.microsoft.com/office/drawing/2014/main" id="{8DF49C03-B310-419F-B4D8-DB1B80B354A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560966" y="3769888"/>
            <a:ext cx="825295" cy="573509"/>
          </a:xfrm>
          <a:prstGeom prst="rect">
            <a:avLst/>
          </a:prstGeom>
        </p:spPr>
      </p:pic>
      <p:pic>
        <p:nvPicPr>
          <p:cNvPr id="21" name="Image 20">
            <a:extLst>
              <a:ext uri="{FF2B5EF4-FFF2-40B4-BE49-F238E27FC236}">
                <a16:creationId xmlns:a16="http://schemas.microsoft.com/office/drawing/2014/main" id="{9EFA6E22-FB4F-6FF0-FBC8-E02E6728470C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548550" y="5287308"/>
            <a:ext cx="1425063" cy="657721"/>
          </a:xfrm>
          <a:prstGeom prst="rect">
            <a:avLst/>
          </a:prstGeom>
        </p:spPr>
      </p:pic>
      <p:pic>
        <p:nvPicPr>
          <p:cNvPr id="28" name="Image 27">
            <a:extLst>
              <a:ext uri="{FF2B5EF4-FFF2-40B4-BE49-F238E27FC236}">
                <a16:creationId xmlns:a16="http://schemas.microsoft.com/office/drawing/2014/main" id="{26246EA0-5E3C-3D7A-5213-82A7859EE3EF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37060" y="5538655"/>
            <a:ext cx="1162989" cy="536764"/>
          </a:xfrm>
          <a:prstGeom prst="rect">
            <a:avLst/>
          </a:prstGeom>
        </p:spPr>
      </p:pic>
      <p:sp>
        <p:nvSpPr>
          <p:cNvPr id="6" name="Titre 1">
            <a:extLst>
              <a:ext uri="{FF2B5EF4-FFF2-40B4-BE49-F238E27FC236}">
                <a16:creationId xmlns:a16="http://schemas.microsoft.com/office/drawing/2014/main" id="{751EE724-8086-2ED7-FBAF-9CCCFCEA1D50}"/>
              </a:ext>
            </a:extLst>
          </p:cNvPr>
          <p:cNvSpPr txBox="1">
            <a:spLocks/>
          </p:cNvSpPr>
          <p:nvPr/>
        </p:nvSpPr>
        <p:spPr>
          <a:xfrm>
            <a:off x="1345173" y="220869"/>
            <a:ext cx="10883605" cy="72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1219140" rtl="0" eaLnBrk="1" latinLnBrk="0" hangingPunct="1">
              <a:lnSpc>
                <a:spcPts val="2933"/>
              </a:lnSpc>
              <a:spcBef>
                <a:spcPct val="0"/>
              </a:spcBef>
              <a:buNone/>
              <a:defRPr sz="2667" b="1" kern="1200">
                <a:solidFill>
                  <a:srgbClr val="006AB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lnSpc>
                <a:spcPts val="2500"/>
              </a:lnSpc>
            </a:pPr>
            <a:r>
              <a:rPr lang="fr-FR" sz="2400" dirty="0">
                <a:latin typeface="Arial" panose="020B0604020202020204" pitchFamily="34" charset="0"/>
                <a:cs typeface="Arial" panose="020B0604020202020204" pitchFamily="34" charset="0"/>
              </a:rPr>
              <a:t>Une cartographie, dans quel contexte ?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B7F17572-C375-023A-F167-F5D46026863E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t="-1435" r="40749"/>
          <a:stretch/>
        </p:blipFill>
        <p:spPr>
          <a:xfrm>
            <a:off x="9430879" y="4637020"/>
            <a:ext cx="1343109" cy="397195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0F3FE57B-E4A3-FCCE-A6DA-9C09560F9EA9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t="-1435" r="40749"/>
          <a:stretch/>
        </p:blipFill>
        <p:spPr>
          <a:xfrm>
            <a:off x="878480" y="1815779"/>
            <a:ext cx="933387" cy="276028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8EBB5159-0FB2-E013-4758-AFCF14E92DF5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t="-1435" r="40749"/>
          <a:stretch/>
        </p:blipFill>
        <p:spPr>
          <a:xfrm>
            <a:off x="3308880" y="1175240"/>
            <a:ext cx="953520" cy="281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72568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5" grpId="0" animBg="1"/>
      <p:bldP spid="86" grpId="0"/>
      <p:bldP spid="89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" name="Groupe 89">
            <a:extLst>
              <a:ext uri="{FF2B5EF4-FFF2-40B4-BE49-F238E27FC236}">
                <a16:creationId xmlns:a16="http://schemas.microsoft.com/office/drawing/2014/main" id="{73588394-4EC3-8873-D851-727C3E2D8E4B}"/>
              </a:ext>
            </a:extLst>
          </p:cNvPr>
          <p:cNvGrpSpPr/>
          <p:nvPr/>
        </p:nvGrpSpPr>
        <p:grpSpPr>
          <a:xfrm>
            <a:off x="815984" y="1127545"/>
            <a:ext cx="9917409" cy="4327850"/>
            <a:chOff x="2028033" y="1117911"/>
            <a:chExt cx="9917409" cy="4327850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1E9991A3-AC77-3481-B767-839FB1ECF7E9}"/>
                </a:ext>
              </a:extLst>
            </p:cNvPr>
            <p:cNvSpPr/>
            <p:nvPr/>
          </p:nvSpPr>
          <p:spPr>
            <a:xfrm>
              <a:off x="2036847" y="1138627"/>
              <a:ext cx="8571016" cy="60716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68B82AD-E67F-5E12-62DF-AFB5C41B0C26}"/>
                </a:ext>
              </a:extLst>
            </p:cNvPr>
            <p:cNvSpPr/>
            <p:nvPr/>
          </p:nvSpPr>
          <p:spPr>
            <a:xfrm>
              <a:off x="2034008" y="2350411"/>
              <a:ext cx="8573855" cy="4759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rgbClr val="0075A4">
                  <a:alpha val="5098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DBD60C3A-1ABC-21E8-9A1A-03C89099D5C5}"/>
                </a:ext>
              </a:extLst>
            </p:cNvPr>
            <p:cNvSpPr/>
            <p:nvPr/>
          </p:nvSpPr>
          <p:spPr>
            <a:xfrm>
              <a:off x="2038010" y="3525739"/>
              <a:ext cx="8569853" cy="47112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rgbClr val="0075A4">
                  <a:alpha val="5098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3ED24FF-765B-5642-28EB-2F513673035D}"/>
                </a:ext>
              </a:extLst>
            </p:cNvPr>
            <p:cNvSpPr/>
            <p:nvPr/>
          </p:nvSpPr>
          <p:spPr>
            <a:xfrm>
              <a:off x="2036845" y="4791485"/>
              <a:ext cx="8571018" cy="58554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rgbClr val="0075A4">
                  <a:alpha val="5098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TextBox 16">
              <a:extLst>
                <a:ext uri="{FF2B5EF4-FFF2-40B4-BE49-F238E27FC236}">
                  <a16:creationId xmlns:a16="http://schemas.microsoft.com/office/drawing/2014/main" id="{141EF72D-3FD3-8FEA-E429-0EDEBBAFFBAF}"/>
                </a:ext>
              </a:extLst>
            </p:cNvPr>
            <p:cNvSpPr txBox="1"/>
            <p:nvPr/>
          </p:nvSpPr>
          <p:spPr>
            <a:xfrm>
              <a:off x="2045121" y="1117911"/>
              <a:ext cx="6400439" cy="284693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ctr">
              <a:spAutoFit/>
            </a:bodyPr>
            <a:lstStyle>
              <a:defPPr>
                <a:defRPr lang="fr-FR"/>
              </a:defPPr>
              <a:lvl1pPr defTabSz="1219110">
                <a:spcBef>
                  <a:spcPts val="300"/>
                </a:spcBef>
                <a:spcAft>
                  <a:spcPts val="300"/>
                </a:spcAft>
                <a:defRPr sz="2800" b="0">
                  <a:solidFill>
                    <a:srgbClr val="57565A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defRPr>
              </a:lvl1pPr>
            </a:lstStyle>
            <a:p>
              <a:pPr algn="just"/>
              <a:r>
                <a:rPr lang="fr-FR" sz="1400" b="1" dirty="0">
                  <a:solidFill>
                    <a:srgbClr val="D60951"/>
                  </a:solidFill>
                  <a:latin typeface="Arial" panose="020B0604020202020204" pitchFamily="34" charset="0"/>
                  <a:ea typeface="Open Sans Light"/>
                  <a:cs typeface="Arial" panose="020B0604020202020204" pitchFamily="34" charset="0"/>
                </a:rPr>
                <a:t>1. </a:t>
              </a:r>
              <a:r>
                <a:rPr lang="fr-FR" sz="1400" b="1" dirty="0">
                  <a:solidFill>
                    <a:srgbClr val="6F6F6F"/>
                  </a:solidFill>
                  <a:latin typeface="Arial" panose="020B0604020202020204" pitchFamily="34" charset="0"/>
                  <a:ea typeface="Open Sans Light"/>
                  <a:cs typeface="Arial" panose="020B0604020202020204" pitchFamily="34" charset="0"/>
                </a:rPr>
                <a:t>S’aligner avec le catalogue de services de Mon espace santé </a:t>
              </a:r>
              <a:endParaRPr lang="fr-FR" sz="1400" b="1" dirty="0">
                <a:solidFill>
                  <a:srgbClr val="6F6F6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07978356-8E28-2891-B16B-6C9F5868CAC0}"/>
                </a:ext>
              </a:extLst>
            </p:cNvPr>
            <p:cNvSpPr txBox="1"/>
            <p:nvPr/>
          </p:nvSpPr>
          <p:spPr>
            <a:xfrm>
              <a:off x="2045121" y="1758199"/>
              <a:ext cx="5625861" cy="30777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fr-FR"/>
              </a:defPPr>
              <a:lvl1pPr defTabSz="1219110">
                <a:spcBef>
                  <a:spcPts val="300"/>
                </a:spcBef>
                <a:spcAft>
                  <a:spcPts val="300"/>
                </a:spcAft>
                <a:defRPr sz="2800" b="0">
                  <a:solidFill>
                    <a:srgbClr val="57565A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defRPr>
              </a:lvl1pPr>
            </a:lstStyle>
            <a:p>
              <a:pPr algn="just"/>
              <a:r>
                <a:rPr lang="fr-FR" sz="1400" b="1" dirty="0">
                  <a:solidFill>
                    <a:srgbClr val="D6095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. </a:t>
              </a:r>
              <a:r>
                <a:rPr lang="fr-FR" sz="1400" b="1" dirty="0">
                  <a:solidFill>
                    <a:srgbClr val="6F6F6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endre vers un arrêt du rapprochement d’identité</a:t>
              </a:r>
            </a:p>
          </p:txBody>
        </p:sp>
        <p:sp>
          <p:nvSpPr>
            <p:cNvPr id="18" name="TextBox 16">
              <a:extLst>
                <a:ext uri="{FF2B5EF4-FFF2-40B4-BE49-F238E27FC236}">
                  <a16:creationId xmlns:a16="http://schemas.microsoft.com/office/drawing/2014/main" id="{1C08AAC9-ADC1-0989-5D58-4A9FFB1C9FA4}"/>
                </a:ext>
              </a:extLst>
            </p:cNvPr>
            <p:cNvSpPr txBox="1"/>
            <p:nvPr/>
          </p:nvSpPr>
          <p:spPr>
            <a:xfrm>
              <a:off x="2045121" y="2291716"/>
              <a:ext cx="8715142" cy="30777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fr-FR"/>
              </a:defPPr>
              <a:lvl1pPr defTabSz="1219110">
                <a:spcBef>
                  <a:spcPts val="300"/>
                </a:spcBef>
                <a:spcAft>
                  <a:spcPts val="300"/>
                </a:spcAft>
                <a:defRPr sz="2800" b="0">
                  <a:solidFill>
                    <a:srgbClr val="57565A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defRPr>
              </a:lvl1pPr>
            </a:lstStyle>
            <a:p>
              <a:pPr algn="just"/>
              <a:r>
                <a:rPr lang="fr-FR" sz="1400" b="1" dirty="0">
                  <a:solidFill>
                    <a:srgbClr val="D6095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. </a:t>
              </a:r>
              <a:r>
                <a:rPr lang="fr-FR" sz="1400" b="1" dirty="0">
                  <a:solidFill>
                    <a:srgbClr val="6F6F6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 mettre en conformité avec le référentiel d’identification électronique </a:t>
              </a:r>
            </a:p>
          </p:txBody>
        </p:sp>
        <p:sp>
          <p:nvSpPr>
            <p:cNvPr id="19" name="TextBox 16">
              <a:extLst>
                <a:ext uri="{FF2B5EF4-FFF2-40B4-BE49-F238E27FC236}">
                  <a16:creationId xmlns:a16="http://schemas.microsoft.com/office/drawing/2014/main" id="{025DB396-3435-6E1E-E4CD-C65CDCFDF665}"/>
                </a:ext>
              </a:extLst>
            </p:cNvPr>
            <p:cNvSpPr txBox="1"/>
            <p:nvPr/>
          </p:nvSpPr>
          <p:spPr>
            <a:xfrm>
              <a:off x="2045121" y="2837972"/>
              <a:ext cx="3683448" cy="30777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fr-FR"/>
              </a:defPPr>
              <a:lvl1pPr defTabSz="1219110">
                <a:spcBef>
                  <a:spcPts val="300"/>
                </a:spcBef>
                <a:spcAft>
                  <a:spcPts val="300"/>
                </a:spcAft>
                <a:defRPr sz="2800" b="0">
                  <a:solidFill>
                    <a:srgbClr val="57565A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defRPr>
              </a:lvl1pPr>
            </a:lstStyle>
            <a:p>
              <a:pPr algn="just"/>
              <a:r>
                <a:rPr lang="fr-FR" sz="1400" b="1" dirty="0">
                  <a:solidFill>
                    <a:srgbClr val="D6095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. </a:t>
              </a:r>
              <a:r>
                <a:rPr lang="fr-FR" sz="1400" b="1" dirty="0">
                  <a:solidFill>
                    <a:srgbClr val="6F6F6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xpliciter l’offre MSSanté</a:t>
              </a:r>
            </a:p>
          </p:txBody>
        </p:sp>
        <p:sp>
          <p:nvSpPr>
            <p:cNvPr id="20" name="TextBox 16">
              <a:extLst>
                <a:ext uri="{FF2B5EF4-FFF2-40B4-BE49-F238E27FC236}">
                  <a16:creationId xmlns:a16="http://schemas.microsoft.com/office/drawing/2014/main" id="{CC651108-99D4-FF40-7E00-66FC1991F21E}"/>
                </a:ext>
              </a:extLst>
            </p:cNvPr>
            <p:cNvSpPr txBox="1"/>
            <p:nvPr/>
          </p:nvSpPr>
          <p:spPr>
            <a:xfrm>
              <a:off x="2045121" y="3494918"/>
              <a:ext cx="6289668" cy="30777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fr-FR"/>
              </a:defPPr>
              <a:lvl1pPr defTabSz="1219110">
                <a:spcBef>
                  <a:spcPts val="300"/>
                </a:spcBef>
                <a:spcAft>
                  <a:spcPts val="300"/>
                </a:spcAft>
                <a:defRPr sz="2800" b="0">
                  <a:solidFill>
                    <a:srgbClr val="57565A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defRPr>
              </a:lvl1pPr>
            </a:lstStyle>
            <a:p>
              <a:pPr algn="just"/>
              <a:r>
                <a:rPr lang="fr-FR" sz="1400" b="1" dirty="0">
                  <a:solidFill>
                    <a:srgbClr val="D6095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. </a:t>
              </a:r>
              <a:r>
                <a:rPr lang="fr-FR" sz="1400" b="1" dirty="0">
                  <a:solidFill>
                    <a:srgbClr val="6F6F6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’appuyer sur les annuaires RPPS/FINESS et sur le ROR</a:t>
              </a:r>
            </a:p>
          </p:txBody>
        </p:sp>
        <p:sp>
          <p:nvSpPr>
            <p:cNvPr id="21" name="TextBox 16">
              <a:extLst>
                <a:ext uri="{FF2B5EF4-FFF2-40B4-BE49-F238E27FC236}">
                  <a16:creationId xmlns:a16="http://schemas.microsoft.com/office/drawing/2014/main" id="{44414C56-BFC5-6D3E-79B3-8DEBF166D15B}"/>
                </a:ext>
              </a:extLst>
            </p:cNvPr>
            <p:cNvSpPr txBox="1"/>
            <p:nvPr/>
          </p:nvSpPr>
          <p:spPr>
            <a:xfrm>
              <a:off x="2045121" y="4074255"/>
              <a:ext cx="3683448" cy="30777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fr-FR"/>
              </a:defPPr>
              <a:lvl1pPr defTabSz="1219110">
                <a:spcBef>
                  <a:spcPts val="300"/>
                </a:spcBef>
                <a:spcAft>
                  <a:spcPts val="300"/>
                </a:spcAft>
                <a:defRPr sz="2800" b="0">
                  <a:solidFill>
                    <a:srgbClr val="57565A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defRPr>
              </a:lvl1pPr>
            </a:lstStyle>
            <a:p>
              <a:pPr algn="just"/>
              <a:r>
                <a:rPr lang="fr-FR" sz="1400" b="1" dirty="0">
                  <a:solidFill>
                    <a:srgbClr val="D6095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. </a:t>
              </a:r>
              <a:r>
                <a:rPr lang="fr-FR" sz="1400" b="1" dirty="0">
                  <a:solidFill>
                    <a:srgbClr val="6F6F6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tégrer Via Trajectoire</a:t>
              </a:r>
            </a:p>
          </p:txBody>
        </p:sp>
        <p:sp>
          <p:nvSpPr>
            <p:cNvPr id="22" name="TextBox 16">
              <a:extLst>
                <a:ext uri="{FF2B5EF4-FFF2-40B4-BE49-F238E27FC236}">
                  <a16:creationId xmlns:a16="http://schemas.microsoft.com/office/drawing/2014/main" id="{BE70A0C1-D489-E7BE-4487-B87E40AE2ACC}"/>
                </a:ext>
              </a:extLst>
            </p:cNvPr>
            <p:cNvSpPr txBox="1"/>
            <p:nvPr/>
          </p:nvSpPr>
          <p:spPr>
            <a:xfrm>
              <a:off x="2045121" y="4762065"/>
              <a:ext cx="7189415" cy="30777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fr-FR"/>
              </a:defPPr>
              <a:lvl1pPr defTabSz="1219110">
                <a:spcBef>
                  <a:spcPts val="300"/>
                </a:spcBef>
                <a:spcAft>
                  <a:spcPts val="300"/>
                </a:spcAft>
                <a:defRPr sz="2800" b="0">
                  <a:solidFill>
                    <a:srgbClr val="57565A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defRPr>
              </a:lvl1pPr>
            </a:lstStyle>
            <a:p>
              <a:pPr algn="just"/>
              <a:r>
                <a:rPr lang="fr-FR" sz="1400" b="1" dirty="0">
                  <a:solidFill>
                    <a:srgbClr val="D6095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7. </a:t>
              </a:r>
              <a:r>
                <a:rPr lang="fr-FR" sz="1400" b="1" dirty="0">
                  <a:solidFill>
                    <a:srgbClr val="6F6F6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tégrer les services socles dans les services de coordination</a:t>
              </a:r>
            </a:p>
          </p:txBody>
        </p:sp>
        <p:sp>
          <p:nvSpPr>
            <p:cNvPr id="23" name="ZoneTexte 22">
              <a:extLst>
                <a:ext uri="{FF2B5EF4-FFF2-40B4-BE49-F238E27FC236}">
                  <a16:creationId xmlns:a16="http://schemas.microsoft.com/office/drawing/2014/main" id="{C2D374CD-DFEB-A67D-3373-992F320CB2EB}"/>
                </a:ext>
              </a:extLst>
            </p:cNvPr>
            <p:cNvSpPr txBox="1"/>
            <p:nvPr/>
          </p:nvSpPr>
          <p:spPr>
            <a:xfrm>
              <a:off x="2037084" y="1345975"/>
              <a:ext cx="9908358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" defTabSz="914333"/>
              <a:r>
                <a:rPr lang="fr-FR" sz="1200" dirty="0">
                  <a:solidFill>
                    <a:srgbClr val="006AB2"/>
                  </a:solidFill>
                  <a:latin typeface="Arial" panose="020B0604020202020204" pitchFamily="34" charset="0"/>
                  <a:ea typeface="Open Sans Light"/>
                  <a:cs typeface="Arial" panose="020B0604020202020204" pitchFamily="34" charset="0"/>
                </a:rPr>
                <a:t>Arrêter les doublons avec les fonctionnalités MeS et projeter de se faire référencer au catalogue MeS</a:t>
              </a:r>
              <a:endParaRPr lang="fr-FR" sz="1200" dirty="0">
                <a:solidFill>
                  <a:srgbClr val="006AB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ZoneTexte 29">
              <a:extLst>
                <a:ext uri="{FF2B5EF4-FFF2-40B4-BE49-F238E27FC236}">
                  <a16:creationId xmlns:a16="http://schemas.microsoft.com/office/drawing/2014/main" id="{B1742C35-1F97-AEDB-C465-CFB33691214B}"/>
                </a:ext>
              </a:extLst>
            </p:cNvPr>
            <p:cNvSpPr txBox="1"/>
            <p:nvPr/>
          </p:nvSpPr>
          <p:spPr>
            <a:xfrm>
              <a:off x="2037084" y="1976532"/>
              <a:ext cx="9908358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" defTabSz="914333"/>
              <a:r>
                <a:rPr lang="fr-FR" sz="1200" dirty="0">
                  <a:solidFill>
                    <a:srgbClr val="006AB2"/>
                  </a:solidFill>
                  <a:latin typeface="Arial" panose="020B0604020202020204" pitchFamily="34" charset="0"/>
                  <a:ea typeface="Open Sans Light"/>
                  <a:cs typeface="Arial" panose="020B0604020202020204" pitchFamily="34" charset="0"/>
                </a:rPr>
                <a:t>Projeter la disparition des fonctions de « rapprochement d’identités » (dont les serveurs de rapprochement d’identités SRRI)</a:t>
              </a:r>
              <a:endParaRPr lang="fr-FR" sz="1200" dirty="0">
                <a:solidFill>
                  <a:srgbClr val="006AB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ZoneTexte 30">
              <a:extLst>
                <a:ext uri="{FF2B5EF4-FFF2-40B4-BE49-F238E27FC236}">
                  <a16:creationId xmlns:a16="http://schemas.microsoft.com/office/drawing/2014/main" id="{151A4C5E-5C3A-D701-B3D6-D8FC0B8FF69B}"/>
                </a:ext>
              </a:extLst>
            </p:cNvPr>
            <p:cNvSpPr txBox="1"/>
            <p:nvPr/>
          </p:nvSpPr>
          <p:spPr>
            <a:xfrm>
              <a:off x="2071338" y="2580178"/>
              <a:ext cx="9578298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" defTabSz="914333"/>
              <a:r>
                <a:rPr lang="fr-FR" sz="1200" dirty="0">
                  <a:solidFill>
                    <a:srgbClr val="006AB2"/>
                  </a:solidFill>
                  <a:latin typeface="Arial" panose="020B0604020202020204" pitchFamily="34" charset="0"/>
                  <a:ea typeface="Open Sans Light"/>
                  <a:cs typeface="Arial" panose="020B0604020202020204" pitchFamily="34" charset="0"/>
                </a:rPr>
                <a:t>Privilégier Pro Santé Connect notamment vis-à-vis de l’échéance de niveau de sécurité eiDAS substantiel au 01/01/2026</a:t>
              </a:r>
              <a:endParaRPr lang="fr-FR" sz="1200" dirty="0">
                <a:solidFill>
                  <a:srgbClr val="006AB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ZoneTexte 34">
              <a:extLst>
                <a:ext uri="{FF2B5EF4-FFF2-40B4-BE49-F238E27FC236}">
                  <a16:creationId xmlns:a16="http://schemas.microsoft.com/office/drawing/2014/main" id="{041EF4DE-476A-672E-32E8-A7963022AD1D}"/>
                </a:ext>
              </a:extLst>
            </p:cNvPr>
            <p:cNvSpPr txBox="1"/>
            <p:nvPr/>
          </p:nvSpPr>
          <p:spPr>
            <a:xfrm>
              <a:off x="2034527" y="3056553"/>
              <a:ext cx="9906092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" defTabSz="914333"/>
              <a:r>
                <a:rPr lang="fr-FR" sz="1200" dirty="0">
                  <a:solidFill>
                    <a:srgbClr val="006AB2"/>
                  </a:solidFill>
                  <a:latin typeface="Arial" panose="020B0604020202020204" pitchFamily="34" charset="0"/>
                  <a:ea typeface="Open Sans Light"/>
                  <a:cs typeface="Arial" panose="020B0604020202020204" pitchFamily="34" charset="0"/>
                </a:rPr>
                <a:t>Préciser l’offre régionale de messagerie de santé au regard des besoins avérés, coûts, usages et du marché</a:t>
              </a:r>
            </a:p>
          </p:txBody>
        </p:sp>
        <p:sp>
          <p:nvSpPr>
            <p:cNvPr id="45" name="ZoneTexte 44">
              <a:extLst>
                <a:ext uri="{FF2B5EF4-FFF2-40B4-BE49-F238E27FC236}">
                  <a16:creationId xmlns:a16="http://schemas.microsoft.com/office/drawing/2014/main" id="{5E67FF78-271D-BC9B-236B-D88D8D0E49BB}"/>
                </a:ext>
              </a:extLst>
            </p:cNvPr>
            <p:cNvSpPr txBox="1"/>
            <p:nvPr/>
          </p:nvSpPr>
          <p:spPr>
            <a:xfrm>
              <a:off x="2038010" y="3711409"/>
              <a:ext cx="9901918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" defTabSz="914333"/>
              <a:r>
                <a:rPr lang="fr-FR" sz="1200" dirty="0">
                  <a:solidFill>
                    <a:srgbClr val="006AB2"/>
                  </a:solidFill>
                  <a:latin typeface="Arial" panose="020B0604020202020204" pitchFamily="34" charset="0"/>
                  <a:ea typeface="Open Sans Light"/>
                  <a:cs typeface="Arial" panose="020B0604020202020204" pitchFamily="34" charset="0"/>
                </a:rPr>
                <a:t>Les intégrer comme références pour l’identification des professionnels ou autres ressources</a:t>
              </a:r>
            </a:p>
          </p:txBody>
        </p:sp>
        <p:sp>
          <p:nvSpPr>
            <p:cNvPr id="49" name="ZoneTexte 48">
              <a:extLst>
                <a:ext uri="{FF2B5EF4-FFF2-40B4-BE49-F238E27FC236}">
                  <a16:creationId xmlns:a16="http://schemas.microsoft.com/office/drawing/2014/main" id="{C77E4FFC-51A8-121F-06C0-9D82758996BF}"/>
                </a:ext>
              </a:extLst>
            </p:cNvPr>
            <p:cNvSpPr txBox="1"/>
            <p:nvPr/>
          </p:nvSpPr>
          <p:spPr>
            <a:xfrm>
              <a:off x="2092504" y="4280586"/>
              <a:ext cx="9546612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" defTabSz="914333"/>
              <a:r>
                <a:rPr lang="fr-FR" sz="1200" dirty="0">
                  <a:solidFill>
                    <a:srgbClr val="006AB2"/>
                  </a:solidFill>
                  <a:latin typeface="Arial" panose="020B0604020202020204" pitchFamily="34" charset="0"/>
                  <a:ea typeface="Open Sans Light"/>
                  <a:cs typeface="Arial" panose="020B0604020202020204" pitchFamily="34" charset="0"/>
                </a:rPr>
                <a:t>Intégrer le service dans la feuille de route régionale pour l’ensemble des volets d’orientation et </a:t>
              </a:r>
            </a:p>
            <a:p>
              <a:pPr algn="just" defTabSz="914333"/>
              <a:r>
                <a:rPr lang="fr-FR" sz="1200" dirty="0">
                  <a:solidFill>
                    <a:srgbClr val="006AB2"/>
                  </a:solidFill>
                  <a:latin typeface="Arial" panose="020B0604020202020204" pitchFamily="34" charset="0"/>
                  <a:ea typeface="Open Sans Light"/>
                  <a:cs typeface="Arial" panose="020B0604020202020204" pitchFamily="34" charset="0"/>
                </a:rPr>
                <a:t>projeter/atteindre des cibles d’usages</a:t>
              </a:r>
            </a:p>
          </p:txBody>
        </p:sp>
        <p:sp>
          <p:nvSpPr>
            <p:cNvPr id="50" name="ZoneTexte 49">
              <a:extLst>
                <a:ext uri="{FF2B5EF4-FFF2-40B4-BE49-F238E27FC236}">
                  <a16:creationId xmlns:a16="http://schemas.microsoft.com/office/drawing/2014/main" id="{4A692B3C-4F39-64CD-54F0-64C8F44FDC82}"/>
                </a:ext>
              </a:extLst>
            </p:cNvPr>
            <p:cNvSpPr txBox="1"/>
            <p:nvPr/>
          </p:nvSpPr>
          <p:spPr>
            <a:xfrm>
              <a:off x="2028033" y="4984096"/>
              <a:ext cx="9901918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" defTabSz="914333"/>
              <a:r>
                <a:rPr lang="fr-FR" sz="1200" dirty="0">
                  <a:solidFill>
                    <a:srgbClr val="006AB2"/>
                  </a:solidFill>
                  <a:latin typeface="Arial" panose="020B0604020202020204" pitchFamily="34" charset="0"/>
                  <a:ea typeface="Open Sans Light"/>
                  <a:cs typeface="Arial" panose="020B0604020202020204" pitchFamily="34" charset="0"/>
                </a:rPr>
                <a:t>Intégrer dans les outils de coordination régionaux (dont eParcours et DCC) l’INS, un plan de mise en œuvre </a:t>
              </a:r>
            </a:p>
            <a:p>
              <a:pPr algn="just" defTabSz="914333"/>
              <a:r>
                <a:rPr lang="fr-FR" sz="1200" dirty="0">
                  <a:solidFill>
                    <a:srgbClr val="006AB2"/>
                  </a:solidFill>
                  <a:latin typeface="Arial" panose="020B0604020202020204" pitchFamily="34" charset="0"/>
                  <a:ea typeface="Open Sans Light"/>
                  <a:cs typeface="Arial" panose="020B0604020202020204" pitchFamily="34" charset="0"/>
                </a:rPr>
                <a:t>d’un accès au DMP, PSC en développant son usage ainsi que la MSS comme outil de messagerie</a:t>
              </a:r>
            </a:p>
          </p:txBody>
        </p:sp>
      </p:grpSp>
      <p:grpSp>
        <p:nvGrpSpPr>
          <p:cNvPr id="74" name="Groupe 73">
            <a:extLst>
              <a:ext uri="{FF2B5EF4-FFF2-40B4-BE49-F238E27FC236}">
                <a16:creationId xmlns:a16="http://schemas.microsoft.com/office/drawing/2014/main" id="{C1C74495-66B2-D02A-B1CC-8108AFDE05DD}"/>
              </a:ext>
            </a:extLst>
          </p:cNvPr>
          <p:cNvGrpSpPr/>
          <p:nvPr/>
        </p:nvGrpSpPr>
        <p:grpSpPr>
          <a:xfrm>
            <a:off x="186207" y="1066515"/>
            <a:ext cx="544324" cy="4177735"/>
            <a:chOff x="717397" y="1174518"/>
            <a:chExt cx="544324" cy="4177735"/>
          </a:xfrm>
        </p:grpSpPr>
        <p:grpSp>
          <p:nvGrpSpPr>
            <p:cNvPr id="24" name="Groupe 23">
              <a:extLst>
                <a:ext uri="{FF2B5EF4-FFF2-40B4-BE49-F238E27FC236}">
                  <a16:creationId xmlns:a16="http://schemas.microsoft.com/office/drawing/2014/main" id="{317553C0-8AC2-35DE-55BB-F3AAE20C0921}"/>
                </a:ext>
              </a:extLst>
            </p:cNvPr>
            <p:cNvGrpSpPr/>
            <p:nvPr/>
          </p:nvGrpSpPr>
          <p:grpSpPr>
            <a:xfrm>
              <a:off x="748721" y="1174518"/>
              <a:ext cx="513000" cy="513000"/>
              <a:chOff x="421469" y="1183036"/>
              <a:chExt cx="576000" cy="576000"/>
            </a:xfrm>
          </p:grpSpPr>
          <p:sp useBgFill="1">
            <p:nvSpPr>
              <p:cNvPr id="25" name="Oval 16">
                <a:extLst>
                  <a:ext uri="{FF2B5EF4-FFF2-40B4-BE49-F238E27FC236}">
                    <a16:creationId xmlns:a16="http://schemas.microsoft.com/office/drawing/2014/main" id="{8781D739-2936-95F6-B02B-322E6420E5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1469" y="1183036"/>
                <a:ext cx="576000" cy="576000"/>
              </a:xfrm>
              <a:prstGeom prst="ellipse">
                <a:avLst/>
              </a:prstGeom>
              <a:ln w="19050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914355">
                  <a:defRPr/>
                </a:pPr>
                <a:endParaRPr lang="fr-FR" sz="1800" kern="0" dirty="0">
                  <a:solidFill>
                    <a:srgbClr val="57565A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26" name="Image 25">
                <a:extLst>
                  <a:ext uri="{FF2B5EF4-FFF2-40B4-BE49-F238E27FC236}">
                    <a16:creationId xmlns:a16="http://schemas.microsoft.com/office/drawing/2014/main" id="{91A3D64C-2025-8543-F72F-6E9B2C0FE28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46415" y="1279305"/>
                <a:ext cx="540128" cy="383462"/>
              </a:xfrm>
              <a:prstGeom prst="ellipse">
                <a:avLst/>
              </a:prstGeom>
              <a:ln>
                <a:noFill/>
              </a:ln>
            </p:spPr>
          </p:pic>
        </p:grpSp>
        <p:grpSp>
          <p:nvGrpSpPr>
            <p:cNvPr id="27" name="Groupe 26">
              <a:extLst>
                <a:ext uri="{FF2B5EF4-FFF2-40B4-BE49-F238E27FC236}">
                  <a16:creationId xmlns:a16="http://schemas.microsoft.com/office/drawing/2014/main" id="{27E6DBF6-DFA5-E145-912D-5C75ABECA9DC}"/>
                </a:ext>
              </a:extLst>
            </p:cNvPr>
            <p:cNvGrpSpPr/>
            <p:nvPr/>
          </p:nvGrpSpPr>
          <p:grpSpPr>
            <a:xfrm>
              <a:off x="748721" y="1781264"/>
              <a:ext cx="513000" cy="513000"/>
              <a:chOff x="416651" y="1999865"/>
              <a:chExt cx="576000" cy="576000"/>
            </a:xfrm>
          </p:grpSpPr>
          <p:sp useBgFill="1">
            <p:nvSpPr>
              <p:cNvPr id="28" name="Oval 16">
                <a:extLst>
                  <a:ext uri="{FF2B5EF4-FFF2-40B4-BE49-F238E27FC236}">
                    <a16:creationId xmlns:a16="http://schemas.microsoft.com/office/drawing/2014/main" id="{372C5F49-74B7-771A-CFDA-28B877217ED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6651" y="1999865"/>
                <a:ext cx="576000" cy="576000"/>
              </a:xfrm>
              <a:prstGeom prst="ellipse">
                <a:avLst/>
              </a:prstGeom>
              <a:ln w="19050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914355">
                  <a:defRPr/>
                </a:pPr>
                <a:endParaRPr lang="fr-FR" sz="1800" kern="0" dirty="0">
                  <a:solidFill>
                    <a:srgbClr val="57565A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29" name="Image 28">
                <a:extLst>
                  <a:ext uri="{FF2B5EF4-FFF2-40B4-BE49-F238E27FC236}">
                    <a16:creationId xmlns:a16="http://schemas.microsoft.com/office/drawing/2014/main" id="{EC1C2496-8AD8-3C36-777E-C1D6FC712BF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97574" y="2106051"/>
                <a:ext cx="414154" cy="370466"/>
              </a:xfrm>
              <a:prstGeom prst="roundRect">
                <a:avLst>
                  <a:gd name="adj" fmla="val 16667"/>
                </a:avLst>
              </a:prstGeom>
              <a:ln>
                <a:noFill/>
              </a:ln>
              <a:effectLst/>
              <a:scene3d>
                <a:camera prst="orthographicFront"/>
                <a:lightRig rig="contrasting" dir="t">
                  <a:rot lat="0" lon="0" rev="4200000"/>
                </a:lightRig>
              </a:scene3d>
              <a:sp3d prstMaterial="plastic">
                <a:bevelT w="381000" h="114300" prst="relaxedInset"/>
                <a:contourClr>
                  <a:srgbClr val="969696"/>
                </a:contourClr>
              </a:sp3d>
            </p:spPr>
          </p:pic>
        </p:grpSp>
        <p:grpSp>
          <p:nvGrpSpPr>
            <p:cNvPr id="32" name="Groupe 31">
              <a:extLst>
                <a:ext uri="{FF2B5EF4-FFF2-40B4-BE49-F238E27FC236}">
                  <a16:creationId xmlns:a16="http://schemas.microsoft.com/office/drawing/2014/main" id="{E8B01C68-186A-DD81-00D7-B8704D51D6DE}"/>
                </a:ext>
              </a:extLst>
            </p:cNvPr>
            <p:cNvGrpSpPr/>
            <p:nvPr/>
          </p:nvGrpSpPr>
          <p:grpSpPr>
            <a:xfrm>
              <a:off x="748721" y="2388010"/>
              <a:ext cx="513000" cy="513000"/>
              <a:chOff x="416651" y="2707878"/>
              <a:chExt cx="576000" cy="576000"/>
            </a:xfrm>
            <a:solidFill>
              <a:schemeClr val="bg1"/>
            </a:solidFill>
          </p:grpSpPr>
          <p:sp>
            <p:nvSpPr>
              <p:cNvPr id="33" name="Oval 16">
                <a:extLst>
                  <a:ext uri="{FF2B5EF4-FFF2-40B4-BE49-F238E27FC236}">
                    <a16:creationId xmlns:a16="http://schemas.microsoft.com/office/drawing/2014/main" id="{D48882E0-3140-6BD6-25CF-7233804FB47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6651" y="2707878"/>
                <a:ext cx="576000" cy="576000"/>
              </a:xfrm>
              <a:prstGeom prst="ellipse">
                <a:avLst/>
              </a:prstGeom>
              <a:grpFill/>
              <a:ln w="19050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914355">
                  <a:defRPr/>
                </a:pPr>
                <a:endParaRPr lang="fr-FR" sz="1800" kern="0" dirty="0">
                  <a:solidFill>
                    <a:srgbClr val="57565A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34" name="Image 33">
                <a:extLst>
                  <a:ext uri="{FF2B5EF4-FFF2-40B4-BE49-F238E27FC236}">
                    <a16:creationId xmlns:a16="http://schemas.microsoft.com/office/drawing/2014/main" id="{BFB9F9C4-02FF-634F-8F2E-A01E42C1C6C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60108" y="2947312"/>
                <a:ext cx="474759" cy="121263"/>
              </a:xfrm>
              <a:prstGeom prst="roundRect">
                <a:avLst>
                  <a:gd name="adj" fmla="val 16667"/>
                </a:avLst>
              </a:prstGeom>
              <a:grpFill/>
              <a:ln>
                <a:noFill/>
              </a:ln>
              <a:effectLst/>
              <a:scene3d>
                <a:camera prst="orthographicFront"/>
                <a:lightRig rig="contrasting" dir="t">
                  <a:rot lat="0" lon="0" rev="4200000"/>
                </a:lightRig>
              </a:scene3d>
              <a:sp3d prstMaterial="plastic">
                <a:bevelT w="381000" h="114300" prst="relaxedInset"/>
                <a:contourClr>
                  <a:srgbClr val="969696"/>
                </a:contourClr>
              </a:sp3d>
            </p:spPr>
          </p:pic>
        </p:grpSp>
        <p:grpSp>
          <p:nvGrpSpPr>
            <p:cNvPr id="36" name="Groupe 35">
              <a:extLst>
                <a:ext uri="{FF2B5EF4-FFF2-40B4-BE49-F238E27FC236}">
                  <a16:creationId xmlns:a16="http://schemas.microsoft.com/office/drawing/2014/main" id="{A08ADA38-3355-EDCE-4A87-187F45322B20}"/>
                </a:ext>
              </a:extLst>
            </p:cNvPr>
            <p:cNvGrpSpPr/>
            <p:nvPr/>
          </p:nvGrpSpPr>
          <p:grpSpPr>
            <a:xfrm>
              <a:off x="748721" y="2994756"/>
              <a:ext cx="513000" cy="513000"/>
              <a:chOff x="414243" y="3479621"/>
              <a:chExt cx="576000" cy="576000"/>
            </a:xfrm>
          </p:grpSpPr>
          <p:sp useBgFill="1">
            <p:nvSpPr>
              <p:cNvPr id="37" name="Oval 16">
                <a:extLst>
                  <a:ext uri="{FF2B5EF4-FFF2-40B4-BE49-F238E27FC236}">
                    <a16:creationId xmlns:a16="http://schemas.microsoft.com/office/drawing/2014/main" id="{07F05B4C-E63E-E931-D845-34A87530C2C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4243" y="3479621"/>
                <a:ext cx="576000" cy="576000"/>
              </a:xfrm>
              <a:prstGeom prst="ellipse">
                <a:avLst/>
              </a:prstGeom>
              <a:ln w="19050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914355">
                  <a:defRPr/>
                </a:pPr>
                <a:endParaRPr lang="fr-FR" sz="1800" kern="0" dirty="0">
                  <a:solidFill>
                    <a:srgbClr val="57565A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38" name="Image 37">
                <a:extLst>
                  <a:ext uri="{FF2B5EF4-FFF2-40B4-BE49-F238E27FC236}">
                    <a16:creationId xmlns:a16="http://schemas.microsoft.com/office/drawing/2014/main" id="{9FFDA8F7-5B85-EDCC-F756-8A51A0478A9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/>
              <a:srcRect l="20147" t="16724" r="16444" b="7800"/>
              <a:stretch/>
            </p:blipFill>
            <p:spPr>
              <a:xfrm>
                <a:off x="470129" y="3610682"/>
                <a:ext cx="474646" cy="313878"/>
              </a:xfrm>
              <a:prstGeom prst="ellipse">
                <a:avLst/>
              </a:prstGeom>
              <a:ln>
                <a:noFill/>
              </a:ln>
            </p:spPr>
          </p:pic>
        </p:grpSp>
        <p:grpSp>
          <p:nvGrpSpPr>
            <p:cNvPr id="39" name="Groupe 38">
              <a:extLst>
                <a:ext uri="{FF2B5EF4-FFF2-40B4-BE49-F238E27FC236}">
                  <a16:creationId xmlns:a16="http://schemas.microsoft.com/office/drawing/2014/main" id="{D4A99EAD-3436-4BB8-957E-146E4F0EC7EB}"/>
                </a:ext>
              </a:extLst>
            </p:cNvPr>
            <p:cNvGrpSpPr/>
            <p:nvPr/>
          </p:nvGrpSpPr>
          <p:grpSpPr>
            <a:xfrm>
              <a:off x="748721" y="3601503"/>
              <a:ext cx="513000" cy="513000"/>
              <a:chOff x="419452" y="4354519"/>
              <a:chExt cx="576000" cy="576000"/>
            </a:xfrm>
          </p:grpSpPr>
          <p:sp useBgFill="1">
            <p:nvSpPr>
              <p:cNvPr id="40" name="Oval 16">
                <a:extLst>
                  <a:ext uri="{FF2B5EF4-FFF2-40B4-BE49-F238E27FC236}">
                    <a16:creationId xmlns:a16="http://schemas.microsoft.com/office/drawing/2014/main" id="{E967E878-898D-C59B-82D1-69EEDA09228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9452" y="4354519"/>
                <a:ext cx="576000" cy="576000"/>
              </a:xfrm>
              <a:prstGeom prst="ellipse">
                <a:avLst/>
              </a:prstGeom>
              <a:ln w="19050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914355">
                  <a:defRPr/>
                </a:pPr>
                <a:endParaRPr lang="fr-FR" sz="1800" kern="0" dirty="0">
                  <a:solidFill>
                    <a:srgbClr val="57565A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41" name="Groupe 40">
                <a:extLst>
                  <a:ext uri="{FF2B5EF4-FFF2-40B4-BE49-F238E27FC236}">
                    <a16:creationId xmlns:a16="http://schemas.microsoft.com/office/drawing/2014/main" id="{0F17CDC8-FED4-2201-D50E-56325F9149BE}"/>
                  </a:ext>
                </a:extLst>
              </p:cNvPr>
              <p:cNvGrpSpPr/>
              <p:nvPr/>
            </p:nvGrpSpPr>
            <p:grpSpPr>
              <a:xfrm>
                <a:off x="512353" y="4447730"/>
                <a:ext cx="433641" cy="422576"/>
                <a:chOff x="5584719" y="2237632"/>
                <a:chExt cx="824920" cy="647530"/>
              </a:xfrm>
            </p:grpSpPr>
            <p:pic>
              <p:nvPicPr>
                <p:cNvPr id="42" name="Image 41">
                  <a:extLst>
                    <a:ext uri="{FF2B5EF4-FFF2-40B4-BE49-F238E27FC236}">
                      <a16:creationId xmlns:a16="http://schemas.microsoft.com/office/drawing/2014/main" id="{8DEA3FB8-DF8B-B421-8D85-BBC2599FE32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5584719" y="2237632"/>
                  <a:ext cx="511281" cy="343343"/>
                </a:xfrm>
                <a:prstGeom prst="ellipse">
                  <a:avLst/>
                </a:prstGeom>
                <a:ln>
                  <a:noFill/>
                </a:ln>
              </p:spPr>
            </p:pic>
            <p:pic>
              <p:nvPicPr>
                <p:cNvPr id="43" name="Image 42">
                  <a:extLst>
                    <a:ext uri="{FF2B5EF4-FFF2-40B4-BE49-F238E27FC236}">
                      <a16:creationId xmlns:a16="http://schemas.microsoft.com/office/drawing/2014/main" id="{D3AD8C8C-3DCF-B021-CA54-6276CE78C97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5953436" y="2393762"/>
                  <a:ext cx="456203" cy="326664"/>
                </a:xfrm>
                <a:prstGeom prst="ellipse">
                  <a:avLst/>
                </a:prstGeom>
                <a:ln>
                  <a:noFill/>
                </a:ln>
              </p:spPr>
            </p:pic>
            <p:pic>
              <p:nvPicPr>
                <p:cNvPr id="44" name="Image 43">
                  <a:extLst>
                    <a:ext uri="{FF2B5EF4-FFF2-40B4-BE49-F238E27FC236}">
                      <a16:creationId xmlns:a16="http://schemas.microsoft.com/office/drawing/2014/main" id="{371DA6FD-E0BE-3593-551D-EFE273A3515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5645628" y="2681717"/>
                  <a:ext cx="577639" cy="203445"/>
                </a:xfrm>
                <a:prstGeom prst="ellipse">
                  <a:avLst/>
                </a:prstGeom>
                <a:ln>
                  <a:noFill/>
                </a:ln>
              </p:spPr>
            </p:pic>
          </p:grpSp>
        </p:grpSp>
        <p:grpSp>
          <p:nvGrpSpPr>
            <p:cNvPr id="46" name="Groupe 45">
              <a:extLst>
                <a:ext uri="{FF2B5EF4-FFF2-40B4-BE49-F238E27FC236}">
                  <a16:creationId xmlns:a16="http://schemas.microsoft.com/office/drawing/2014/main" id="{F9FD9147-EBE3-3D43-5A3B-73CFC2E83287}"/>
                </a:ext>
              </a:extLst>
            </p:cNvPr>
            <p:cNvGrpSpPr/>
            <p:nvPr/>
          </p:nvGrpSpPr>
          <p:grpSpPr>
            <a:xfrm>
              <a:off x="748721" y="4208249"/>
              <a:ext cx="513000" cy="513000"/>
              <a:chOff x="414243" y="5203966"/>
              <a:chExt cx="576000" cy="576000"/>
            </a:xfrm>
          </p:grpSpPr>
          <p:sp useBgFill="1">
            <p:nvSpPr>
              <p:cNvPr id="47" name="Oval 16">
                <a:extLst>
                  <a:ext uri="{FF2B5EF4-FFF2-40B4-BE49-F238E27FC236}">
                    <a16:creationId xmlns:a16="http://schemas.microsoft.com/office/drawing/2014/main" id="{08872A39-93DA-B1D8-32FC-FF33255586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4243" y="5203966"/>
                <a:ext cx="576000" cy="576000"/>
              </a:xfrm>
              <a:prstGeom prst="ellipse">
                <a:avLst/>
              </a:prstGeom>
              <a:ln w="19050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914355">
                  <a:defRPr/>
                </a:pPr>
                <a:endParaRPr lang="fr-FR" sz="1800" kern="0" dirty="0">
                  <a:solidFill>
                    <a:srgbClr val="57565A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48" name="Picture 4" descr="ViaTrajectoire et grand âge: outil pour trouver une place en Ehpad">
                <a:extLst>
                  <a:ext uri="{FF2B5EF4-FFF2-40B4-BE49-F238E27FC236}">
                    <a16:creationId xmlns:a16="http://schemas.microsoft.com/office/drawing/2014/main" id="{1E8D5AA5-57B9-E11B-CFBB-A1EC771B0CC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63053" y="5294276"/>
                <a:ext cx="487556" cy="424500"/>
              </a:xfrm>
              <a:prstGeom prst="ellips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51" name="Groupe 50">
              <a:extLst>
                <a:ext uri="{FF2B5EF4-FFF2-40B4-BE49-F238E27FC236}">
                  <a16:creationId xmlns:a16="http://schemas.microsoft.com/office/drawing/2014/main" id="{9829AAD9-EF8F-4929-EAE6-67F8E67BD5B3}"/>
                </a:ext>
              </a:extLst>
            </p:cNvPr>
            <p:cNvGrpSpPr/>
            <p:nvPr/>
          </p:nvGrpSpPr>
          <p:grpSpPr>
            <a:xfrm>
              <a:off x="717397" y="4839253"/>
              <a:ext cx="513000" cy="513000"/>
              <a:chOff x="422055" y="6037004"/>
              <a:chExt cx="576000" cy="576000"/>
            </a:xfrm>
          </p:grpSpPr>
          <p:sp useBgFill="1">
            <p:nvSpPr>
              <p:cNvPr id="52" name="Oval 16">
                <a:extLst>
                  <a:ext uri="{FF2B5EF4-FFF2-40B4-BE49-F238E27FC236}">
                    <a16:creationId xmlns:a16="http://schemas.microsoft.com/office/drawing/2014/main" id="{A4A46906-552D-5518-2264-4FEDE20C413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2055" y="6037004"/>
                <a:ext cx="576000" cy="576000"/>
              </a:xfrm>
              <a:prstGeom prst="ellipse">
                <a:avLst/>
              </a:prstGeom>
              <a:ln w="19050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914355">
                  <a:defRPr/>
                </a:pPr>
                <a:endParaRPr lang="fr-FR" sz="1800" kern="0" dirty="0">
                  <a:solidFill>
                    <a:srgbClr val="57565A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53" name="Image 52">
                <a:extLst>
                  <a:ext uri="{FF2B5EF4-FFF2-40B4-BE49-F238E27FC236}">
                    <a16:creationId xmlns:a16="http://schemas.microsoft.com/office/drawing/2014/main" id="{655D6745-FA79-439C-ED94-E0BFC76DF1C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606489" y="6136990"/>
                <a:ext cx="208031" cy="386938"/>
              </a:xfrm>
              <a:prstGeom prst="rect">
                <a:avLst/>
              </a:prstGeom>
              <a:ln>
                <a:noFill/>
              </a:ln>
            </p:spPr>
          </p:pic>
        </p:grpSp>
      </p:grpSp>
      <p:sp>
        <p:nvSpPr>
          <p:cNvPr id="4" name="Titre 1">
            <a:extLst>
              <a:ext uri="{FF2B5EF4-FFF2-40B4-BE49-F238E27FC236}">
                <a16:creationId xmlns:a16="http://schemas.microsoft.com/office/drawing/2014/main" id="{7AD8FAE3-5127-504F-EE72-F70948E48EAC}"/>
              </a:ext>
            </a:extLst>
          </p:cNvPr>
          <p:cNvSpPr txBox="1">
            <a:spLocks/>
          </p:cNvSpPr>
          <p:nvPr/>
        </p:nvSpPr>
        <p:spPr>
          <a:xfrm>
            <a:off x="1345173" y="84942"/>
            <a:ext cx="10702665" cy="72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1219140" rtl="0" eaLnBrk="1" latinLnBrk="0" hangingPunct="1">
              <a:lnSpc>
                <a:spcPts val="2933"/>
              </a:lnSpc>
              <a:spcBef>
                <a:spcPct val="0"/>
              </a:spcBef>
              <a:buNone/>
              <a:defRPr sz="2667" b="1" kern="1200">
                <a:solidFill>
                  <a:srgbClr val="006AB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lnSpc>
                <a:spcPts val="2500"/>
              </a:lnSpc>
            </a:pPr>
            <a:r>
              <a:rPr lang="fr-FR" sz="2400" dirty="0">
                <a:latin typeface="Arial" panose="020B0604020202020204" pitchFamily="34" charset="0"/>
                <a:cs typeface="Arial" panose="020B0604020202020204" pitchFamily="34" charset="0"/>
              </a:rPr>
              <a:t>Priorités sur 7 objectifs de convergence à la doctrine nationale suivis dans le cadre des DDG (dialogues de gestions régionaux/nationaux)</a:t>
            </a:r>
          </a:p>
        </p:txBody>
      </p:sp>
      <p:sp>
        <p:nvSpPr>
          <p:cNvPr id="57" name="ZoneTexte 56">
            <a:extLst>
              <a:ext uri="{FF2B5EF4-FFF2-40B4-BE49-F238E27FC236}">
                <a16:creationId xmlns:a16="http://schemas.microsoft.com/office/drawing/2014/main" id="{3A2A200C-B6E9-2A0A-CBB9-ACF399C7A765}"/>
              </a:ext>
            </a:extLst>
          </p:cNvPr>
          <p:cNvSpPr txBox="1"/>
          <p:nvPr/>
        </p:nvSpPr>
        <p:spPr>
          <a:xfrm>
            <a:off x="328788" y="5532882"/>
            <a:ext cx="11696138" cy="1282579"/>
          </a:xfrm>
          <a:prstGeom prst="roundRect">
            <a:avLst/>
          </a:prstGeom>
          <a:solidFill>
            <a:srgbClr val="757678"/>
          </a:solidFill>
        </p:spPr>
        <p:txBody>
          <a:bodyPr wrap="square" anchor="ctr">
            <a:noAutofit/>
          </a:bodyPr>
          <a:lstStyle/>
          <a:p>
            <a:pPr marL="357188">
              <a:lnSpc>
                <a:spcPct val="114000"/>
              </a:lnSpc>
              <a:spcBef>
                <a:spcPts val="900"/>
              </a:spcBef>
              <a:buClr>
                <a:srgbClr val="0070C0"/>
              </a:buClr>
            </a:pPr>
            <a:r>
              <a:rPr lang="fr-FR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 Plans d’actions régionaux (ARS et GRADeS) formalisés pour converger</a:t>
            </a:r>
          </a:p>
          <a:p>
            <a:pPr marL="357188">
              <a:lnSpc>
                <a:spcPct val="114000"/>
              </a:lnSpc>
              <a:spcBef>
                <a:spcPts val="900"/>
              </a:spcBef>
              <a:buClr>
                <a:srgbClr val="0070C0"/>
              </a:buClr>
            </a:pPr>
            <a:r>
              <a:rPr lang="fr-FR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 Co-construction de stratégies facilitatrices (3 à 4 régions volontaires et 1 lead national par objectif)</a:t>
            </a:r>
            <a:endParaRPr lang="fr-FR" sz="2000" b="1" u="sng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98" name="Groupe 97">
            <a:extLst>
              <a:ext uri="{FF2B5EF4-FFF2-40B4-BE49-F238E27FC236}">
                <a16:creationId xmlns:a16="http://schemas.microsoft.com/office/drawing/2014/main" id="{7A52E370-5343-EDF4-5AA3-F66453B4BD49}"/>
              </a:ext>
            </a:extLst>
          </p:cNvPr>
          <p:cNvGrpSpPr/>
          <p:nvPr/>
        </p:nvGrpSpPr>
        <p:grpSpPr>
          <a:xfrm>
            <a:off x="9310680" y="790462"/>
            <a:ext cx="4513638" cy="4721704"/>
            <a:chOff x="102694" y="1069654"/>
            <a:chExt cx="4513638" cy="4721704"/>
          </a:xfrm>
        </p:grpSpPr>
        <p:sp>
          <p:nvSpPr>
            <p:cNvPr id="72" name="ZoneTexte 71">
              <a:extLst>
                <a:ext uri="{FF2B5EF4-FFF2-40B4-BE49-F238E27FC236}">
                  <a16:creationId xmlns:a16="http://schemas.microsoft.com/office/drawing/2014/main" id="{2AB119AA-FCA6-4EDB-2595-FAFF01ECF116}"/>
                </a:ext>
              </a:extLst>
            </p:cNvPr>
            <p:cNvSpPr txBox="1"/>
            <p:nvPr/>
          </p:nvSpPr>
          <p:spPr>
            <a:xfrm>
              <a:off x="102694" y="1069654"/>
              <a:ext cx="4191323" cy="410241"/>
            </a:xfrm>
            <a:prstGeom prst="rect">
              <a:avLst/>
            </a:prstGeom>
            <a:noFill/>
          </p:spPr>
          <p:txBody>
            <a:bodyPr wrap="square" lIns="121920" tIns="60960" rIns="121920" bIns="60960" anchor="t">
              <a:spAutoFit/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fr-FR" sz="933" i="1" dirty="0">
                  <a:solidFill>
                    <a:prstClr val="white">
                      <a:lumMod val="65000"/>
                    </a:prstClr>
                  </a:solidFill>
                  <a:latin typeface="Arial"/>
                  <a:ea typeface="Geneva"/>
                </a:rPr>
                <a:t>Leads nationaux </a:t>
              </a:r>
              <a:br>
                <a:rPr lang="fr-FR" sz="933" i="1" dirty="0">
                  <a:solidFill>
                    <a:prstClr val="white">
                      <a:lumMod val="65000"/>
                    </a:prstClr>
                  </a:solidFill>
                  <a:latin typeface="Arial"/>
                  <a:ea typeface="Geneva"/>
                </a:rPr>
              </a:br>
              <a:r>
                <a:rPr lang="fr-FR" sz="933" i="1" dirty="0">
                  <a:solidFill>
                    <a:prstClr val="white">
                      <a:lumMod val="65000"/>
                    </a:prstClr>
                  </a:solidFill>
                  <a:latin typeface="Arial"/>
                  <a:ea typeface="Geneva"/>
                </a:rPr>
                <a:t>(ANS et DNS)</a:t>
              </a:r>
              <a:endParaRPr lang="fr-FR" sz="933" i="1" dirty="0">
                <a:solidFill>
                  <a:prstClr val="white">
                    <a:lumMod val="65000"/>
                  </a:prstClr>
                </a:solidFill>
                <a:latin typeface="Arial"/>
                <a:ea typeface="Geneva"/>
                <a:cs typeface="Arial"/>
              </a:endParaRPr>
            </a:p>
          </p:txBody>
        </p:sp>
        <p:sp>
          <p:nvSpPr>
            <p:cNvPr id="75" name="ZoneTexte 74">
              <a:extLst>
                <a:ext uri="{FF2B5EF4-FFF2-40B4-BE49-F238E27FC236}">
                  <a16:creationId xmlns:a16="http://schemas.microsoft.com/office/drawing/2014/main" id="{82657EB1-6A5A-AE0F-B1B2-41D11C6A5E9E}"/>
                </a:ext>
              </a:extLst>
            </p:cNvPr>
            <p:cNvSpPr txBox="1"/>
            <p:nvPr/>
          </p:nvSpPr>
          <p:spPr>
            <a:xfrm>
              <a:off x="1017548" y="1083217"/>
              <a:ext cx="3598784" cy="410241"/>
            </a:xfrm>
            <a:prstGeom prst="rect">
              <a:avLst/>
            </a:prstGeom>
            <a:noFill/>
          </p:spPr>
          <p:txBody>
            <a:bodyPr wrap="square" lIns="121920" tIns="60960" rIns="121920" bIns="60960" anchor="t">
              <a:spAutoFit/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fr-FR" sz="933" i="1" dirty="0">
                  <a:solidFill>
                    <a:prstClr val="white">
                      <a:lumMod val="65000"/>
                    </a:prstClr>
                  </a:solidFill>
                  <a:latin typeface="Arial"/>
                  <a:ea typeface="Geneva"/>
                </a:rPr>
                <a:t>Volontaires régionaux </a:t>
              </a:r>
              <a:br>
                <a:rPr lang="fr-FR" sz="933" i="1" dirty="0">
                  <a:solidFill>
                    <a:prstClr val="white">
                      <a:lumMod val="65000"/>
                    </a:prstClr>
                  </a:solidFill>
                  <a:latin typeface="Arial"/>
                  <a:ea typeface="Geneva"/>
                </a:rPr>
              </a:br>
              <a:r>
                <a:rPr lang="fr-FR" sz="933" i="1" dirty="0">
                  <a:solidFill>
                    <a:prstClr val="white">
                      <a:lumMod val="65000"/>
                    </a:prstClr>
                  </a:solidFill>
                  <a:latin typeface="Arial"/>
                  <a:ea typeface="Geneva"/>
                </a:rPr>
                <a:t>(ARS et GRADeS)</a:t>
              </a:r>
              <a:endParaRPr lang="fr-FR" sz="933" i="1" dirty="0">
                <a:solidFill>
                  <a:prstClr val="white">
                    <a:lumMod val="65000"/>
                  </a:prstClr>
                </a:solidFill>
                <a:latin typeface="Arial"/>
                <a:ea typeface="Geneva"/>
                <a:cs typeface="Arial"/>
              </a:endParaRPr>
            </a:p>
          </p:txBody>
        </p:sp>
        <p:pic>
          <p:nvPicPr>
            <p:cNvPr id="85" name="Image 84">
              <a:extLst>
                <a:ext uri="{FF2B5EF4-FFF2-40B4-BE49-F238E27FC236}">
                  <a16:creationId xmlns:a16="http://schemas.microsoft.com/office/drawing/2014/main" id="{B5FE2048-DF3E-2062-8B5E-4F5DC2A5B409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187828" y="1260258"/>
              <a:ext cx="1026980" cy="4531100"/>
            </a:xfrm>
            <a:prstGeom prst="rect">
              <a:avLst/>
            </a:prstGeom>
          </p:spPr>
        </p:pic>
        <p:sp>
          <p:nvSpPr>
            <p:cNvPr id="89" name="ZoneTexte 88">
              <a:extLst>
                <a:ext uri="{FF2B5EF4-FFF2-40B4-BE49-F238E27FC236}">
                  <a16:creationId xmlns:a16="http://schemas.microsoft.com/office/drawing/2014/main" id="{73904227-5509-B61F-AD56-C3C908823242}"/>
                </a:ext>
              </a:extLst>
            </p:cNvPr>
            <p:cNvSpPr txBox="1"/>
            <p:nvPr/>
          </p:nvSpPr>
          <p:spPr>
            <a:xfrm>
              <a:off x="962089" y="1444024"/>
              <a:ext cx="1557182" cy="55399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fr-FR"/>
              </a:defPPr>
              <a:lvl1pPr defTabSz="914332" fontAlgn="base">
                <a:spcBef>
                  <a:spcPts val="300"/>
                </a:spcBef>
                <a:spcAft>
                  <a:spcPct val="0"/>
                </a:spcAft>
                <a:buClr>
                  <a:srgbClr val="D60951"/>
                </a:buClr>
                <a:defRPr sz="1000" u="sng">
                  <a:solidFill>
                    <a:srgbClr val="FF9900"/>
                  </a:solidFill>
                  <a:latin typeface="Arial"/>
                  <a:ea typeface="Geneva" charset="-128"/>
                </a:defRPr>
              </a:lvl1pPr>
            </a:lstStyle>
            <a:p>
              <a:r>
                <a:rPr lang="en-US" dirty="0"/>
                <a:t>GRADeS : </a:t>
              </a:r>
              <a:r>
                <a:rPr lang="en-US" u="none" dirty="0"/>
                <a:t>BFC, CVL, HDF. </a:t>
              </a:r>
              <a:br>
                <a:rPr lang="en-US" dirty="0"/>
              </a:br>
              <a:r>
                <a:rPr lang="en-US" dirty="0"/>
                <a:t>ARS : </a:t>
              </a:r>
              <a:r>
                <a:rPr lang="en-US" u="none" dirty="0"/>
                <a:t>NOR, PACA</a:t>
              </a:r>
            </a:p>
          </p:txBody>
        </p:sp>
        <p:sp>
          <p:nvSpPr>
            <p:cNvPr id="91" name="ZoneTexte 90">
              <a:extLst>
                <a:ext uri="{FF2B5EF4-FFF2-40B4-BE49-F238E27FC236}">
                  <a16:creationId xmlns:a16="http://schemas.microsoft.com/office/drawing/2014/main" id="{C9406D13-80F4-DB70-769E-6BAA85FE97BC}"/>
                </a:ext>
              </a:extLst>
            </p:cNvPr>
            <p:cNvSpPr txBox="1"/>
            <p:nvPr/>
          </p:nvSpPr>
          <p:spPr>
            <a:xfrm>
              <a:off x="962089" y="2015266"/>
              <a:ext cx="1798498" cy="59247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914332" fontAlgn="base">
                <a:spcBef>
                  <a:spcPts val="300"/>
                </a:spcBef>
                <a:spcAft>
                  <a:spcPct val="0"/>
                </a:spcAft>
                <a:buClr>
                  <a:srgbClr val="D60951"/>
                </a:buClr>
              </a:pPr>
              <a:r>
                <a:rPr lang="fr-FR" sz="1000" u="sng" dirty="0">
                  <a:solidFill>
                    <a:srgbClr val="FF9900"/>
                  </a:solidFill>
                  <a:latin typeface="Arial"/>
                  <a:ea typeface="Geneva" charset="-128"/>
                </a:rPr>
                <a:t>GRADeS</a:t>
              </a:r>
              <a:r>
                <a:rPr lang="fr-FR" sz="1000" dirty="0">
                  <a:solidFill>
                    <a:srgbClr val="FF9900"/>
                  </a:solidFill>
                  <a:latin typeface="Arial"/>
                  <a:ea typeface="Geneva" charset="-128"/>
                </a:rPr>
                <a:t> : GUY, IDF, NOR, PACA.</a:t>
              </a:r>
            </a:p>
            <a:p>
              <a:pPr defTabSz="914332" fontAlgn="base">
                <a:spcBef>
                  <a:spcPts val="300"/>
                </a:spcBef>
                <a:spcAft>
                  <a:spcPct val="0"/>
                </a:spcAft>
                <a:buClr>
                  <a:srgbClr val="D60951"/>
                </a:buClr>
              </a:pPr>
              <a:r>
                <a:rPr lang="fr-FR" sz="1000" u="sng" dirty="0">
                  <a:solidFill>
                    <a:srgbClr val="FF9900"/>
                  </a:solidFill>
                  <a:latin typeface="Arial"/>
                  <a:ea typeface="Geneva" charset="-128"/>
                </a:rPr>
                <a:t>ARS</a:t>
              </a:r>
              <a:r>
                <a:rPr lang="fr-FR" sz="1000" dirty="0">
                  <a:solidFill>
                    <a:srgbClr val="FF9900"/>
                  </a:solidFill>
                  <a:latin typeface="Arial"/>
                  <a:ea typeface="Geneva" charset="-128"/>
                </a:rPr>
                <a:t> : IDF, NOR, GUY, HDF</a:t>
              </a:r>
              <a:endParaRPr lang="fr-FR" sz="1000" dirty="0">
                <a:solidFill>
                  <a:srgbClr val="FF9900"/>
                </a:solidFill>
                <a:latin typeface="Arial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92" name="ZoneTexte 91">
              <a:extLst>
                <a:ext uri="{FF2B5EF4-FFF2-40B4-BE49-F238E27FC236}">
                  <a16:creationId xmlns:a16="http://schemas.microsoft.com/office/drawing/2014/main" id="{786AC600-CEC7-5D48-8999-66DFD4D38F1B}"/>
                </a:ext>
              </a:extLst>
            </p:cNvPr>
            <p:cNvSpPr txBox="1"/>
            <p:nvPr/>
          </p:nvSpPr>
          <p:spPr>
            <a:xfrm>
              <a:off x="962089" y="2612580"/>
              <a:ext cx="1510421" cy="55399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fr-FR" sz="1000" u="sng" dirty="0">
                  <a:solidFill>
                    <a:srgbClr val="FF9900"/>
                  </a:solidFill>
                  <a:latin typeface="Arial"/>
                  <a:ea typeface="Geneva" charset="-128"/>
                </a:rPr>
                <a:t>GRADeS</a:t>
              </a:r>
              <a:r>
                <a:rPr lang="fr-FR" sz="1000" dirty="0">
                  <a:solidFill>
                    <a:srgbClr val="FF9900"/>
                  </a:solidFill>
                  <a:latin typeface="Arial"/>
                  <a:ea typeface="Geneva" charset="-128"/>
                </a:rPr>
                <a:t> : BRE, GE, OCC (+ PACA)</a:t>
              </a:r>
              <a:br>
                <a:rPr lang="fr-FR" sz="1000" dirty="0">
                  <a:solidFill>
                    <a:srgbClr val="FF9900"/>
                  </a:solidFill>
                  <a:latin typeface="Arial"/>
                  <a:ea typeface="Geneva" charset="-128"/>
                </a:rPr>
              </a:br>
              <a:r>
                <a:rPr lang="fr-FR" sz="1000" u="sng" dirty="0">
                  <a:solidFill>
                    <a:srgbClr val="FF9900"/>
                  </a:solidFill>
                  <a:latin typeface="Arial"/>
                  <a:ea typeface="Geneva" charset="-128"/>
                </a:rPr>
                <a:t>ARS</a:t>
              </a:r>
              <a:r>
                <a:rPr lang="fr-FR" sz="1000" dirty="0">
                  <a:solidFill>
                    <a:srgbClr val="FF9900"/>
                  </a:solidFill>
                  <a:latin typeface="Arial"/>
                  <a:ea typeface="Geneva" charset="-128"/>
                </a:rPr>
                <a:t> : PACA</a:t>
              </a:r>
              <a:endParaRPr lang="en-US" sz="10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3" name="ZoneTexte 92">
              <a:extLst>
                <a:ext uri="{FF2B5EF4-FFF2-40B4-BE49-F238E27FC236}">
                  <a16:creationId xmlns:a16="http://schemas.microsoft.com/office/drawing/2014/main" id="{B433E3E9-0B53-5D4B-3153-5D23422D2509}"/>
                </a:ext>
              </a:extLst>
            </p:cNvPr>
            <p:cNvSpPr txBox="1"/>
            <p:nvPr/>
          </p:nvSpPr>
          <p:spPr>
            <a:xfrm>
              <a:off x="962089" y="3171454"/>
              <a:ext cx="1752849" cy="55399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914332" fontAlgn="base">
                <a:spcBef>
                  <a:spcPts val="300"/>
                </a:spcBef>
                <a:spcAft>
                  <a:spcPct val="0"/>
                </a:spcAft>
                <a:buClr>
                  <a:srgbClr val="D60951"/>
                </a:buClr>
              </a:pPr>
              <a:r>
                <a:rPr lang="fr-FR" sz="1000" u="sng" dirty="0">
                  <a:solidFill>
                    <a:srgbClr val="FF9900"/>
                  </a:solidFill>
                  <a:latin typeface="Arial"/>
                  <a:ea typeface="Geneva" charset="-128"/>
                </a:rPr>
                <a:t>GRADeS</a:t>
              </a:r>
              <a:r>
                <a:rPr lang="fr-FR" sz="1000" dirty="0">
                  <a:solidFill>
                    <a:srgbClr val="FF9900"/>
                  </a:solidFill>
                  <a:latin typeface="Arial"/>
                  <a:ea typeface="Geneva" charset="-128"/>
                </a:rPr>
                <a:t> : ARA, GUY, NA, PDL (+ PACA)</a:t>
              </a:r>
              <a:br>
                <a:rPr lang="fr-FR" sz="1000" dirty="0">
                  <a:solidFill>
                    <a:srgbClr val="FF9900"/>
                  </a:solidFill>
                  <a:latin typeface="Arial"/>
                  <a:ea typeface="Geneva" charset="-128"/>
                </a:rPr>
              </a:br>
              <a:r>
                <a:rPr lang="fr-FR" sz="1000" u="sng" dirty="0">
                  <a:solidFill>
                    <a:srgbClr val="FF9900"/>
                  </a:solidFill>
                  <a:latin typeface="Arial"/>
                  <a:ea typeface="Geneva" charset="-128"/>
                </a:rPr>
                <a:t>ARS</a:t>
              </a:r>
              <a:r>
                <a:rPr lang="fr-FR" sz="1000" dirty="0">
                  <a:solidFill>
                    <a:srgbClr val="FF9900"/>
                  </a:solidFill>
                  <a:latin typeface="Arial"/>
                  <a:ea typeface="Geneva" charset="-128"/>
                </a:rPr>
                <a:t> : NA, NOR, PACA</a:t>
              </a:r>
            </a:p>
          </p:txBody>
        </p:sp>
        <p:sp>
          <p:nvSpPr>
            <p:cNvPr id="94" name="ZoneTexte 93">
              <a:extLst>
                <a:ext uri="{FF2B5EF4-FFF2-40B4-BE49-F238E27FC236}">
                  <a16:creationId xmlns:a16="http://schemas.microsoft.com/office/drawing/2014/main" id="{7A380179-CB1D-61D1-4054-9F0DC950A3BB}"/>
                </a:ext>
              </a:extLst>
            </p:cNvPr>
            <p:cNvSpPr txBox="1"/>
            <p:nvPr/>
          </p:nvSpPr>
          <p:spPr>
            <a:xfrm>
              <a:off x="962089" y="3768560"/>
              <a:ext cx="1663004" cy="55399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914332" fontAlgn="base">
                <a:spcBef>
                  <a:spcPts val="300"/>
                </a:spcBef>
                <a:spcAft>
                  <a:spcPct val="0"/>
                </a:spcAft>
                <a:buClr>
                  <a:srgbClr val="D60951"/>
                </a:buClr>
              </a:pPr>
              <a:r>
                <a:rPr lang="fr-FR" sz="1000" u="sng" dirty="0">
                  <a:solidFill>
                    <a:srgbClr val="FF9900"/>
                  </a:solidFill>
                  <a:latin typeface="Arial"/>
                  <a:ea typeface="Geneva" charset="-128"/>
                </a:rPr>
                <a:t>GRADeS</a:t>
              </a:r>
              <a:r>
                <a:rPr lang="fr-FR" sz="1000" dirty="0">
                  <a:solidFill>
                    <a:srgbClr val="FF9900"/>
                  </a:solidFill>
                  <a:latin typeface="Arial"/>
                  <a:ea typeface="Geneva" charset="-128"/>
                </a:rPr>
                <a:t> : IDF, OCC, PACA</a:t>
              </a:r>
              <a:br>
                <a:rPr lang="fr-FR" sz="1000" dirty="0">
                  <a:solidFill>
                    <a:srgbClr val="FF9900"/>
                  </a:solidFill>
                  <a:latin typeface="Arial"/>
                  <a:ea typeface="Geneva" charset="-128"/>
                </a:rPr>
              </a:br>
              <a:r>
                <a:rPr lang="fr-FR" sz="1000" u="sng" dirty="0">
                  <a:solidFill>
                    <a:srgbClr val="FF9900"/>
                  </a:solidFill>
                  <a:latin typeface="Arial"/>
                  <a:ea typeface="Geneva" charset="-128"/>
                </a:rPr>
                <a:t>ARS</a:t>
              </a:r>
              <a:r>
                <a:rPr lang="fr-FR" sz="1000" dirty="0">
                  <a:solidFill>
                    <a:srgbClr val="FF9900"/>
                  </a:solidFill>
                  <a:latin typeface="Arial"/>
                  <a:ea typeface="Geneva" charset="-128"/>
                </a:rPr>
                <a:t> : IDF, NOR, HDF</a:t>
              </a:r>
              <a:endParaRPr lang="fr-FR" sz="1000" dirty="0">
                <a:solidFill>
                  <a:srgbClr val="FF9900"/>
                </a:solidFill>
                <a:latin typeface="Arial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95" name="ZoneTexte 94">
              <a:extLst>
                <a:ext uri="{FF2B5EF4-FFF2-40B4-BE49-F238E27FC236}">
                  <a16:creationId xmlns:a16="http://schemas.microsoft.com/office/drawing/2014/main" id="{42281A4B-6AEC-5918-EB03-EE51C10F8DD0}"/>
                </a:ext>
              </a:extLst>
            </p:cNvPr>
            <p:cNvSpPr txBox="1"/>
            <p:nvPr/>
          </p:nvSpPr>
          <p:spPr>
            <a:xfrm>
              <a:off x="962089" y="4453854"/>
              <a:ext cx="1854851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914332" fontAlgn="base">
                <a:spcBef>
                  <a:spcPts val="300"/>
                </a:spcBef>
                <a:spcAft>
                  <a:spcPct val="0"/>
                </a:spcAft>
                <a:buClr>
                  <a:srgbClr val="D60951"/>
                </a:buClr>
              </a:pPr>
              <a:r>
                <a:rPr lang="fr-FR" sz="1000" u="sng" dirty="0">
                  <a:solidFill>
                    <a:srgbClr val="FF9900"/>
                  </a:solidFill>
                  <a:latin typeface="Arial"/>
                  <a:ea typeface="Geneva" charset="-128"/>
                </a:rPr>
                <a:t>GRADeS</a:t>
              </a:r>
              <a:r>
                <a:rPr lang="fr-FR" sz="1000" dirty="0">
                  <a:solidFill>
                    <a:srgbClr val="FF9900"/>
                  </a:solidFill>
                  <a:latin typeface="Arial"/>
                  <a:ea typeface="Geneva" charset="-128"/>
                </a:rPr>
                <a:t> : ARA, CVL, COR</a:t>
              </a:r>
              <a:br>
                <a:rPr lang="fr-FR" sz="1000" dirty="0">
                  <a:solidFill>
                    <a:srgbClr val="FF9900"/>
                  </a:solidFill>
                  <a:latin typeface="Arial"/>
                  <a:ea typeface="Geneva" charset="-128"/>
                </a:rPr>
              </a:br>
              <a:r>
                <a:rPr lang="fr-FR" sz="1000" u="sng" dirty="0">
                  <a:solidFill>
                    <a:srgbClr val="FF9900"/>
                  </a:solidFill>
                  <a:latin typeface="Arial"/>
                  <a:ea typeface="Geneva" charset="-128"/>
                </a:rPr>
                <a:t>ARS</a:t>
              </a:r>
              <a:r>
                <a:rPr lang="fr-FR" sz="1000" dirty="0">
                  <a:solidFill>
                    <a:srgbClr val="FF9900"/>
                  </a:solidFill>
                  <a:latin typeface="Arial"/>
                  <a:ea typeface="Geneva" charset="-128"/>
                </a:rPr>
                <a:t> : NOR, PACA, HDF</a:t>
              </a:r>
              <a:endParaRPr lang="fr-FR" sz="1000" dirty="0">
                <a:solidFill>
                  <a:srgbClr val="FF9900"/>
                </a:solidFill>
                <a:latin typeface="Arial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96" name="ZoneTexte 95">
              <a:extLst>
                <a:ext uri="{FF2B5EF4-FFF2-40B4-BE49-F238E27FC236}">
                  <a16:creationId xmlns:a16="http://schemas.microsoft.com/office/drawing/2014/main" id="{86B7DC61-D317-2372-B136-05BDB50FAAFD}"/>
                </a:ext>
              </a:extLst>
            </p:cNvPr>
            <p:cNvSpPr txBox="1"/>
            <p:nvPr/>
          </p:nvSpPr>
          <p:spPr>
            <a:xfrm>
              <a:off x="962089" y="5050960"/>
              <a:ext cx="1614918" cy="55399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fr-FR" sz="1000" u="sng" dirty="0">
                  <a:solidFill>
                    <a:srgbClr val="FF9900"/>
                  </a:solidFill>
                  <a:latin typeface="Arial"/>
                  <a:ea typeface="Geneva" charset="-128"/>
                </a:rPr>
                <a:t>GRADeS</a:t>
              </a:r>
              <a:r>
                <a:rPr lang="fr-FR" sz="1000" dirty="0">
                  <a:solidFill>
                    <a:srgbClr val="FF9900"/>
                  </a:solidFill>
                  <a:latin typeface="Arial"/>
                  <a:ea typeface="Geneva" charset="-128"/>
                </a:rPr>
                <a:t> : BFC, BRE, GE, PDL</a:t>
              </a:r>
              <a:br>
                <a:rPr lang="fr-FR" sz="1000" dirty="0">
                  <a:solidFill>
                    <a:srgbClr val="FF9900"/>
                  </a:solidFill>
                  <a:latin typeface="Arial"/>
                  <a:ea typeface="Geneva" charset="-128"/>
                </a:rPr>
              </a:br>
              <a:r>
                <a:rPr lang="fr-FR" sz="1000" u="sng" dirty="0">
                  <a:solidFill>
                    <a:srgbClr val="FF9900"/>
                  </a:solidFill>
                  <a:latin typeface="Arial"/>
                  <a:ea typeface="Geneva" charset="-128"/>
                </a:rPr>
                <a:t>ARS</a:t>
              </a:r>
              <a:r>
                <a:rPr lang="fr-FR" sz="1000" dirty="0">
                  <a:solidFill>
                    <a:srgbClr val="FF9900"/>
                  </a:solidFill>
                  <a:latin typeface="Arial"/>
                  <a:ea typeface="Geneva" charset="-128"/>
                </a:rPr>
                <a:t> : NOR, PACA, HDF</a:t>
              </a:r>
              <a:endParaRPr lang="en-US" sz="10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31094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B8D17D81-DE2E-589C-6648-A76CB4416D3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6755"/>
          <a:stretch/>
        </p:blipFill>
        <p:spPr>
          <a:xfrm>
            <a:off x="0" y="3521298"/>
            <a:ext cx="4242769" cy="2833400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07F51E00-3DA2-BC6A-C403-9B4181C5EF0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92635" y="3746495"/>
            <a:ext cx="3400073" cy="1525243"/>
          </a:xfrm>
          <a:prstGeom prst="rect">
            <a:avLst/>
          </a:prstGeom>
        </p:spPr>
      </p:pic>
      <p:sp>
        <p:nvSpPr>
          <p:cNvPr id="14" name="Espace réservé du numéro de diapositive 2">
            <a:extLst>
              <a:ext uri="{FF2B5EF4-FFF2-40B4-BE49-F238E27FC236}">
                <a16:creationId xmlns:a16="http://schemas.microsoft.com/office/drawing/2014/main" id="{349A3651-8FEB-DCD2-1137-01B7D2B64AE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-29633" y="6492875"/>
            <a:ext cx="382588" cy="365125"/>
          </a:xfrm>
        </p:spPr>
        <p:txBody>
          <a:bodyPr/>
          <a:lstStyle/>
          <a:p>
            <a:fld id="{646E7B68-C406-4B5C-B79D-A1CDE10CB85D}" type="slidenum">
              <a:rPr lang="fr-FR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5</a:t>
            </a:fld>
            <a:endParaRPr lang="fr-F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F16E89F-6404-AAAF-E2DB-D9E6EA40EB88}"/>
              </a:ext>
            </a:extLst>
          </p:cNvPr>
          <p:cNvSpPr/>
          <p:nvPr/>
        </p:nvSpPr>
        <p:spPr>
          <a:xfrm>
            <a:off x="192390" y="2251328"/>
            <a:ext cx="11766015" cy="1093005"/>
          </a:xfrm>
          <a:prstGeom prst="rect">
            <a:avLst/>
          </a:prstGeom>
          <a:noFill/>
          <a:ln w="6350">
            <a:solidFill>
              <a:srgbClr val="A6A6A6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fr-FR" sz="1867" b="1" dirty="0">
              <a:solidFill>
                <a:srgbClr val="006AB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83C40303-7AFE-DB9B-2C71-0B90C1C15F6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4193" t="16870" r="21355" b="16209"/>
          <a:stretch/>
        </p:blipFill>
        <p:spPr>
          <a:xfrm>
            <a:off x="256517" y="2522744"/>
            <a:ext cx="1010409" cy="652936"/>
          </a:xfrm>
          <a:prstGeom prst="rect">
            <a:avLst/>
          </a:prstGeom>
        </p:spPr>
      </p:pic>
      <p:sp>
        <p:nvSpPr>
          <p:cNvPr id="7" name="ZoneTexte 6">
            <a:extLst>
              <a:ext uri="{FF2B5EF4-FFF2-40B4-BE49-F238E27FC236}">
                <a16:creationId xmlns:a16="http://schemas.microsoft.com/office/drawing/2014/main" id="{7E6C1719-2E21-6BD3-9111-19CDE1F03CA7}"/>
              </a:ext>
            </a:extLst>
          </p:cNvPr>
          <p:cNvSpPr txBox="1"/>
          <p:nvPr/>
        </p:nvSpPr>
        <p:spPr>
          <a:xfrm>
            <a:off x="1009736" y="2102439"/>
            <a:ext cx="7782899" cy="288000"/>
          </a:xfrm>
          <a:prstGeom prst="rect">
            <a:avLst/>
          </a:prstGeom>
          <a:solidFill>
            <a:schemeClr val="bg1"/>
          </a:solidFill>
        </p:spPr>
        <p:txBody>
          <a:bodyPr wrap="square" lIns="96000" tIns="144000" rIns="96000" bIns="144000" rtlCol="0" anchor="ctr" anchorCtr="0">
            <a:noAutofit/>
          </a:bodyPr>
          <a:lstStyle/>
          <a:p>
            <a:r>
              <a:rPr lang="fr-FR" sz="1867" b="1" dirty="0">
                <a:solidFill>
                  <a:srgbClr val="006AB2"/>
                </a:solidFill>
                <a:highlight>
                  <a:srgbClr val="C7DCF1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Action (9.1) de la feuille de route du numérique en santé 2023-2027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81ADB43A-6464-1361-6160-394A77390EF4}"/>
              </a:ext>
            </a:extLst>
          </p:cNvPr>
          <p:cNvSpPr txBox="1"/>
          <p:nvPr/>
        </p:nvSpPr>
        <p:spPr>
          <a:xfrm>
            <a:off x="1212718" y="2529467"/>
            <a:ext cx="10609295" cy="6669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altLang="fr-FR" sz="1867" i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 Dès le </a:t>
            </a:r>
            <a:r>
              <a:rPr lang="fr-FR" altLang="fr-FR" sz="1867" b="1" i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mier trimestre 2024</a:t>
            </a:r>
            <a:r>
              <a:rPr lang="fr-FR" altLang="fr-FR" sz="1867" i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publier une </a:t>
            </a:r>
            <a:r>
              <a:rPr lang="fr-FR" altLang="fr-FR" sz="1867" b="1" i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tographie des services numériques régionaux</a:t>
            </a:r>
          </a:p>
          <a:p>
            <a:pPr algn="ctr"/>
            <a:r>
              <a:rPr lang="fr-FR" altLang="fr-FR" sz="1867" b="1" i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 en œuvre par les ARS et les GRADeS</a:t>
            </a:r>
            <a:r>
              <a:rPr lang="fr-FR" altLang="fr-FR" sz="1867" i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endParaRPr lang="fr-FR" sz="1867" i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EE1AB087-A22C-73A4-A4B7-FBE3C7E9858D}"/>
              </a:ext>
            </a:extLst>
          </p:cNvPr>
          <p:cNvSpPr txBox="1"/>
          <p:nvPr/>
        </p:nvSpPr>
        <p:spPr>
          <a:xfrm>
            <a:off x="-29631" y="1238277"/>
            <a:ext cx="12105601" cy="610889"/>
          </a:xfrm>
          <a:prstGeom prst="rect">
            <a:avLst/>
          </a:prstGeom>
          <a:noFill/>
        </p:spPr>
        <p:txBody>
          <a:bodyPr wrap="square" lIns="96000" tIns="144000" rIns="96000" bIns="144000" rtlCol="0" anchor="ctr" anchorCtr="0">
            <a:noAutofit/>
          </a:bodyPr>
          <a:lstStyle/>
          <a:p>
            <a:pPr algn="ctr"/>
            <a:r>
              <a:rPr lang="fr-FR" sz="1867" b="1" dirty="0">
                <a:solidFill>
                  <a:schemeClr val="bg1"/>
                </a:solidFill>
                <a:highlight>
                  <a:srgbClr val="006AB2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Une cartographie pour rendre plus lisible l’offre de services numériques régionaux</a:t>
            </a:r>
          </a:p>
          <a:p>
            <a:pPr algn="ctr"/>
            <a:r>
              <a:rPr lang="fr-FR" sz="1867" b="1" dirty="0">
                <a:solidFill>
                  <a:schemeClr val="bg1"/>
                </a:solidFill>
                <a:highlight>
                  <a:srgbClr val="006AB2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portés par les ARS et les GRADeS</a:t>
            </a:r>
          </a:p>
        </p:txBody>
      </p:sp>
      <p:pic>
        <p:nvPicPr>
          <p:cNvPr id="11" name="Graphique 10" descr="Flèche vers la droite avec un remplissage uni">
            <a:extLst>
              <a:ext uri="{FF2B5EF4-FFF2-40B4-BE49-F238E27FC236}">
                <a16:creationId xmlns:a16="http://schemas.microsoft.com/office/drawing/2014/main" id="{C9DA8222-B9D6-9E5B-0D6C-FEAA9BFFE21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75838" y="2074363"/>
            <a:ext cx="370925" cy="370925"/>
          </a:xfrm>
          <a:prstGeom prst="rect">
            <a:avLst/>
          </a:prstGeom>
        </p:spPr>
      </p:pic>
      <p:sp>
        <p:nvSpPr>
          <p:cNvPr id="16" name="Titre 1">
            <a:extLst>
              <a:ext uri="{FF2B5EF4-FFF2-40B4-BE49-F238E27FC236}">
                <a16:creationId xmlns:a16="http://schemas.microsoft.com/office/drawing/2014/main" id="{8DE33316-FE8C-DC86-4BBF-2CE4354B2FD9}"/>
              </a:ext>
            </a:extLst>
          </p:cNvPr>
          <p:cNvSpPr txBox="1">
            <a:spLocks/>
          </p:cNvSpPr>
          <p:nvPr/>
        </p:nvSpPr>
        <p:spPr>
          <a:xfrm>
            <a:off x="1266926" y="276793"/>
            <a:ext cx="10883605" cy="72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1219140" rtl="0" eaLnBrk="1" latinLnBrk="0" hangingPunct="1">
              <a:lnSpc>
                <a:spcPts val="2933"/>
              </a:lnSpc>
              <a:spcBef>
                <a:spcPct val="0"/>
              </a:spcBef>
              <a:buNone/>
              <a:defRPr sz="2667" b="1" kern="1200">
                <a:solidFill>
                  <a:srgbClr val="006AB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lnSpc>
                <a:spcPts val="2500"/>
              </a:lnSpc>
            </a:pPr>
            <a:r>
              <a:rPr lang="fr-FR" sz="2400" dirty="0">
                <a:latin typeface="Arial" panose="020B0604020202020204" pitchFamily="34" charset="0"/>
                <a:cs typeface="Arial" panose="020B0604020202020204" pitchFamily="34" charset="0"/>
              </a:rPr>
              <a:t>Pourquoi une cartographie des services numériques régionaux ?</a:t>
            </a:r>
          </a:p>
        </p:txBody>
      </p:sp>
      <p:pic>
        <p:nvPicPr>
          <p:cNvPr id="19" name="Graphique 18" descr="Feux d’artifice avec un remplissage uni">
            <a:extLst>
              <a:ext uri="{FF2B5EF4-FFF2-40B4-BE49-F238E27FC236}">
                <a16:creationId xmlns:a16="http://schemas.microsoft.com/office/drawing/2014/main" id="{2528BE47-6EEE-6A49-E9F7-62EBA0DA3E3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740401" y="3594096"/>
            <a:ext cx="651933" cy="651933"/>
          </a:xfrm>
          <a:prstGeom prst="rect">
            <a:avLst/>
          </a:prstGeom>
        </p:spPr>
      </p:pic>
      <p:pic>
        <p:nvPicPr>
          <p:cNvPr id="26" name="Image 25">
            <a:extLst>
              <a:ext uri="{FF2B5EF4-FFF2-40B4-BE49-F238E27FC236}">
                <a16:creationId xmlns:a16="http://schemas.microsoft.com/office/drawing/2014/main" id="{06B70F2B-C336-FEF1-F8F7-187BA714A6B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958986" y="5496759"/>
            <a:ext cx="6232820" cy="922255"/>
          </a:xfrm>
          <a:prstGeom prst="rect">
            <a:avLst/>
          </a:prstGeom>
        </p:spPr>
      </p:pic>
      <p:sp>
        <p:nvSpPr>
          <p:cNvPr id="27" name="ZoneTexte 24">
            <a:extLst>
              <a:ext uri="{FF2B5EF4-FFF2-40B4-BE49-F238E27FC236}">
                <a16:creationId xmlns:a16="http://schemas.microsoft.com/office/drawing/2014/main" id="{517453E1-1C47-80E6-7008-8C567E22F3F4}"/>
              </a:ext>
            </a:extLst>
          </p:cNvPr>
          <p:cNvSpPr txBox="1"/>
          <p:nvPr/>
        </p:nvSpPr>
        <p:spPr>
          <a:xfrm>
            <a:off x="9453034" y="5473573"/>
            <a:ext cx="1219200" cy="1219200"/>
          </a:xfrm>
          <a:prstGeom prst="rect">
            <a:avLst/>
          </a:prstGeom>
          <a:noFill/>
        </p:spPr>
        <p:txBody>
          <a:bodyPr wrap="none" lIns="96000" tIns="144000" rIns="96000" bIns="144000" rtlCol="0" anchor="ctr" anchorCtr="0">
            <a:normAutofit/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9pPr>
          </a:lstStyle>
          <a:p>
            <a:pPr algn="ctr"/>
            <a:r>
              <a:rPr lang="fr-FR" sz="1067" dirty="0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* Valeurs indicatives)</a:t>
            </a:r>
          </a:p>
        </p:txBody>
      </p:sp>
      <p:sp>
        <p:nvSpPr>
          <p:cNvPr id="28" name="ZoneTexte 21">
            <a:extLst>
              <a:ext uri="{FF2B5EF4-FFF2-40B4-BE49-F238E27FC236}">
                <a16:creationId xmlns:a16="http://schemas.microsoft.com/office/drawing/2014/main" id="{AD638928-010E-8A45-5140-50B61ABEE4EF}"/>
              </a:ext>
            </a:extLst>
          </p:cNvPr>
          <p:cNvSpPr txBox="1"/>
          <p:nvPr/>
        </p:nvSpPr>
        <p:spPr>
          <a:xfrm>
            <a:off x="3684059" y="5202613"/>
            <a:ext cx="1219200" cy="1219200"/>
          </a:xfrm>
          <a:prstGeom prst="rect">
            <a:avLst/>
          </a:prstGeom>
          <a:noFill/>
        </p:spPr>
        <p:txBody>
          <a:bodyPr wrap="none" lIns="96000" tIns="144000" rIns="96000" bIns="144000" rtlCol="0" anchor="ctr" anchorCtr="0">
            <a:normAutofit/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9pPr>
          </a:lstStyle>
          <a:p>
            <a:pPr algn="ctr"/>
            <a:r>
              <a:rPr lang="fr-FR" sz="1067" dirty="0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*)</a:t>
            </a:r>
          </a:p>
        </p:txBody>
      </p:sp>
      <p:sp>
        <p:nvSpPr>
          <p:cNvPr id="29" name="ZoneTexte 21">
            <a:extLst>
              <a:ext uri="{FF2B5EF4-FFF2-40B4-BE49-F238E27FC236}">
                <a16:creationId xmlns:a16="http://schemas.microsoft.com/office/drawing/2014/main" id="{1092E90D-48C6-7B85-B8CC-5DCCF4C4D99C}"/>
              </a:ext>
            </a:extLst>
          </p:cNvPr>
          <p:cNvSpPr txBox="1"/>
          <p:nvPr/>
        </p:nvSpPr>
        <p:spPr>
          <a:xfrm>
            <a:off x="7771338" y="5185680"/>
            <a:ext cx="1219200" cy="1219200"/>
          </a:xfrm>
          <a:prstGeom prst="rect">
            <a:avLst/>
          </a:prstGeom>
          <a:noFill/>
        </p:spPr>
        <p:txBody>
          <a:bodyPr wrap="none" lIns="96000" tIns="144000" rIns="96000" bIns="144000" rtlCol="0" anchor="ctr" anchorCtr="0">
            <a:normAutofit/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9pPr>
          </a:lstStyle>
          <a:p>
            <a:pPr algn="ctr"/>
            <a:r>
              <a:rPr lang="fr-FR" sz="1067" dirty="0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*)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5A02FEF1-5EAA-61A4-9C06-E9A0925025CA}"/>
              </a:ext>
            </a:extLst>
          </p:cNvPr>
          <p:cNvSpPr txBox="1"/>
          <p:nvPr/>
        </p:nvSpPr>
        <p:spPr>
          <a:xfrm>
            <a:off x="3288259" y="3674679"/>
            <a:ext cx="5830283" cy="2303012"/>
          </a:xfrm>
          <a:prstGeom prst="rect">
            <a:avLst/>
          </a:prstGeom>
          <a:noFill/>
        </p:spPr>
        <p:txBody>
          <a:bodyPr wrap="square" lIns="96000" tIns="144000" rIns="96000" bIns="144000" rtlCol="0" anchor="ctr" anchorCtr="0">
            <a:normAutofit/>
          </a:bodyPr>
          <a:lstStyle/>
          <a:p>
            <a:pPr algn="ctr">
              <a:lnSpc>
                <a:spcPct val="110000"/>
              </a:lnSpc>
            </a:pPr>
            <a:r>
              <a:rPr lang="fr-FR" sz="2133" i="1" dirty="0">
                <a:solidFill>
                  <a:srgbClr val="C7176A"/>
                </a:solidFill>
                <a:highlight>
                  <a:srgbClr val="FBD9E9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Mise en ligne le 08/04/2024</a:t>
            </a:r>
          </a:p>
          <a:p>
            <a:pPr algn="ctr">
              <a:lnSpc>
                <a:spcPct val="110000"/>
              </a:lnSpc>
            </a:pPr>
            <a:endParaRPr lang="fr-FR" sz="2133" i="1" dirty="0">
              <a:solidFill>
                <a:srgbClr val="C7176A"/>
              </a:solidFill>
              <a:highlight>
                <a:srgbClr val="FBD9E9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110000"/>
              </a:lnSpc>
            </a:pPr>
            <a:r>
              <a:rPr lang="fr-FR" sz="1600" i="1" dirty="0">
                <a:solidFill>
                  <a:srgbClr val="C7176A"/>
                </a:solidFill>
                <a:highlight>
                  <a:srgbClr val="FBD9E9"/>
                </a:highlight>
                <a:latin typeface="Arial" panose="020B0604020202020204" pitchFamily="34" charset="0"/>
                <a:cs typeface="Arial" panose="020B0604020202020204" pitchFamily="34" charset="0"/>
                <a:hlinkClick r:id="rId11"/>
              </a:rPr>
              <a:t>https://esante.gouv.fr/strategie-nationale/presentation-cartographie-des-services-numeriques-territoriaux</a:t>
            </a:r>
            <a:endParaRPr lang="fr-FR" sz="1600" i="1" dirty="0">
              <a:solidFill>
                <a:srgbClr val="C7176A"/>
              </a:solidFill>
              <a:highlight>
                <a:srgbClr val="FBD9E9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110000"/>
              </a:lnSpc>
            </a:pPr>
            <a:endParaRPr lang="fr-FR" sz="1600" i="1" dirty="0">
              <a:solidFill>
                <a:srgbClr val="C7176A"/>
              </a:solidFill>
              <a:highlight>
                <a:srgbClr val="FBD9E9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Espace réservé du pied de page 8">
            <a:extLst>
              <a:ext uri="{FF2B5EF4-FFF2-40B4-BE49-F238E27FC236}">
                <a16:creationId xmlns:a16="http://schemas.microsoft.com/office/drawing/2014/main" id="{FA1E2AB2-83ED-0096-5FE7-0C99AD6407EA}"/>
              </a:ext>
            </a:extLst>
          </p:cNvPr>
          <p:cNvSpPr txBox="1">
            <a:spLocks/>
          </p:cNvSpPr>
          <p:nvPr/>
        </p:nvSpPr>
        <p:spPr>
          <a:xfrm>
            <a:off x="0" y="6484938"/>
            <a:ext cx="92360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>
                <a:latin typeface="Arial" panose="020B0604020202020204" pitchFamily="34" charset="0"/>
                <a:cs typeface="Arial" panose="020B0604020202020204" pitchFamily="34" charset="0"/>
              </a:rPr>
              <a:t>Atelier SantExpo | 21/05/2024</a:t>
            </a:r>
          </a:p>
        </p:txBody>
      </p:sp>
    </p:spTree>
    <p:extLst>
      <p:ext uri="{BB962C8B-B14F-4D97-AF65-F5344CB8AC3E}">
        <p14:creationId xmlns:p14="http://schemas.microsoft.com/office/powerpoint/2010/main" val="21706847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/>
      <p:bldP spid="28" grpId="0"/>
      <p:bldP spid="29" grpId="0"/>
      <p:bldP spid="22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numéro de diapositive 2">
            <a:extLst>
              <a:ext uri="{FF2B5EF4-FFF2-40B4-BE49-F238E27FC236}">
                <a16:creationId xmlns:a16="http://schemas.microsoft.com/office/drawing/2014/main" id="{349A3651-8FEB-DCD2-1137-01B7D2B64AE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492875"/>
            <a:ext cx="382588" cy="365125"/>
          </a:xfrm>
        </p:spPr>
        <p:txBody>
          <a:bodyPr/>
          <a:lstStyle/>
          <a:p>
            <a:fld id="{646E7B68-C406-4B5C-B79D-A1CDE10CB85D}" type="slidenum">
              <a:rPr lang="fr-FR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6</a:t>
            </a:fld>
            <a:endParaRPr lang="fr-F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re 1">
            <a:extLst>
              <a:ext uri="{FF2B5EF4-FFF2-40B4-BE49-F238E27FC236}">
                <a16:creationId xmlns:a16="http://schemas.microsoft.com/office/drawing/2014/main" id="{EC06F4F5-4A4A-87F8-B6CB-A9FCB168678C}"/>
              </a:ext>
            </a:extLst>
          </p:cNvPr>
          <p:cNvSpPr txBox="1">
            <a:spLocks/>
          </p:cNvSpPr>
          <p:nvPr/>
        </p:nvSpPr>
        <p:spPr>
          <a:xfrm>
            <a:off x="1307638" y="271280"/>
            <a:ext cx="10883605" cy="72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1219140" rtl="0" eaLnBrk="1" latinLnBrk="0" hangingPunct="1">
              <a:lnSpc>
                <a:spcPts val="2933"/>
              </a:lnSpc>
              <a:spcBef>
                <a:spcPct val="0"/>
              </a:spcBef>
              <a:buNone/>
              <a:defRPr sz="2667" b="1" kern="1200">
                <a:solidFill>
                  <a:srgbClr val="006AB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lnSpc>
                <a:spcPts val="2500"/>
              </a:lnSpc>
            </a:pPr>
            <a:r>
              <a:rPr lang="fr-FR" sz="2400" dirty="0">
                <a:latin typeface="Arial" panose="020B0604020202020204" pitchFamily="34" charset="0"/>
                <a:cs typeface="Arial" panose="020B0604020202020204" pitchFamily="34" charset="0"/>
              </a:rPr>
              <a:t>Que présente cette première version de la cartographie ?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22DB5CDE-C915-C357-3DF2-63F68F50F99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03102" y="-8367"/>
            <a:ext cx="1788141" cy="529104"/>
          </a:xfrm>
          <a:prstGeom prst="rect">
            <a:avLst/>
          </a:prstGeom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55780A62-DA1C-61B7-6D28-F64AFB3AF19E}"/>
              </a:ext>
            </a:extLst>
          </p:cNvPr>
          <p:cNvSpPr txBox="1"/>
          <p:nvPr/>
        </p:nvSpPr>
        <p:spPr>
          <a:xfrm>
            <a:off x="278574" y="1259513"/>
            <a:ext cx="11660561" cy="2369431"/>
          </a:xfrm>
          <a:prstGeom prst="rect">
            <a:avLst/>
          </a:prstGeom>
          <a:noFill/>
        </p:spPr>
        <p:txBody>
          <a:bodyPr wrap="square" numCol="1" spcCol="216000">
            <a:spAutoFit/>
          </a:bodyPr>
          <a:lstStyle/>
          <a:p>
            <a:pPr algn="just">
              <a:spcBef>
                <a:spcPts val="800"/>
              </a:spcBef>
            </a:pPr>
            <a:endParaRPr lang="fr-FR" sz="1733" u="sng" dirty="0">
              <a:solidFill>
                <a:schemeClr val="accent5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43996" indent="-143996" algn="just">
              <a:spcBef>
                <a:spcPts val="800"/>
              </a:spcBef>
              <a:buClr>
                <a:srgbClr val="5268A5"/>
              </a:buClr>
              <a:buFont typeface="Arial" panose="020B0604020202020204" pitchFamily="34" charset="0"/>
              <a:buChar char="•"/>
            </a:pPr>
            <a:r>
              <a:rPr lang="fr-FR" sz="1733" b="1" i="1" dirty="0">
                <a:solidFill>
                  <a:srgbClr val="5268A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ffichage</a:t>
            </a:r>
            <a:r>
              <a:rPr lang="fr-FR" sz="1733" dirty="0">
                <a:solidFill>
                  <a:srgbClr val="5268A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733" b="1" i="1" dirty="0">
                <a:solidFill>
                  <a:srgbClr val="5268A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 outils portés par les ARS et GRADeS </a:t>
            </a:r>
            <a:r>
              <a:rPr lang="fr-FR" sz="1733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y compris ceux qui pourraient ne pas être maintenus), en précisant si besoin les </a:t>
            </a:r>
            <a:r>
              <a:rPr lang="fr-FR" sz="1733" b="1" i="1" dirty="0">
                <a:solidFill>
                  <a:srgbClr val="5268A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mites d’usage </a:t>
            </a:r>
            <a:r>
              <a:rPr lang="fr-FR" sz="1733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notamment géographiques)</a:t>
            </a:r>
          </a:p>
          <a:p>
            <a:pPr marL="143996" indent="-143996" algn="just">
              <a:spcBef>
                <a:spcPts val="800"/>
              </a:spcBef>
              <a:buClr>
                <a:srgbClr val="5268A5"/>
              </a:buClr>
              <a:buFont typeface="Arial" panose="020B0604020202020204" pitchFamily="34" charset="0"/>
              <a:buChar char="•"/>
            </a:pPr>
            <a:r>
              <a:rPr lang="fr-FR" sz="1733" b="1" i="1" dirty="0">
                <a:solidFill>
                  <a:srgbClr val="5268A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roupement ou non des bouquets de services </a:t>
            </a:r>
            <a:r>
              <a:rPr lang="fr-FR" sz="1733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ex. ROR, ViaTrajectoire, télésanté) selon les régions (selon positionnement, stratégies de déploiement, trajectoires,…)</a:t>
            </a:r>
          </a:p>
          <a:p>
            <a:pPr marL="143996" indent="-143996" algn="just">
              <a:spcBef>
                <a:spcPts val="800"/>
              </a:spcBef>
              <a:buClr>
                <a:srgbClr val="5268A5"/>
              </a:buClr>
              <a:buFont typeface="Arial" panose="020B0604020202020204" pitchFamily="34" charset="0"/>
              <a:buChar char="•"/>
            </a:pPr>
            <a:r>
              <a:rPr lang="fr-FR" sz="1733" b="1" i="1" dirty="0">
                <a:solidFill>
                  <a:srgbClr val="5268A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ils techniques ou infrastructures </a:t>
            </a:r>
            <a:r>
              <a:rPr lang="fr-FR" sz="1733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ex. SSO, serveurs proxy, annuaires techniques,…) </a:t>
            </a:r>
            <a:r>
              <a:rPr lang="fr-FR" sz="1733" b="1" i="1" dirty="0">
                <a:solidFill>
                  <a:srgbClr val="5268A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 publiés</a:t>
            </a:r>
            <a:endParaRPr lang="fr-FR" sz="1733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43996" indent="-143996" algn="just">
              <a:spcBef>
                <a:spcPts val="800"/>
              </a:spcBef>
              <a:buClr>
                <a:srgbClr val="5268A5"/>
              </a:buClr>
              <a:buFont typeface="Arial" panose="020B0604020202020204" pitchFamily="34" charset="0"/>
              <a:buChar char="•"/>
            </a:pPr>
            <a:r>
              <a:rPr lang="fr-FR" sz="1733" b="1" i="1" dirty="0">
                <a:solidFill>
                  <a:srgbClr val="5268A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ices d’accompagnement </a:t>
            </a:r>
            <a:r>
              <a:rPr lang="fr-FR" sz="1733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ex. Cyber, Ségur,…) </a:t>
            </a:r>
            <a:r>
              <a:rPr lang="fr-FR" sz="1733" b="1" i="1" dirty="0">
                <a:solidFill>
                  <a:srgbClr val="5268A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rs périmètre</a:t>
            </a:r>
            <a:endParaRPr lang="fr-FR" sz="1733" b="1" i="1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4222878-CDE0-5ED0-C41D-4CF386CAE2A7}"/>
              </a:ext>
            </a:extLst>
          </p:cNvPr>
          <p:cNvSpPr/>
          <p:nvPr/>
        </p:nvSpPr>
        <p:spPr>
          <a:xfrm>
            <a:off x="265719" y="1294101"/>
            <a:ext cx="11673416" cy="2465719"/>
          </a:xfrm>
          <a:prstGeom prst="rect">
            <a:avLst/>
          </a:prstGeom>
          <a:noFill/>
          <a:ln w="6350">
            <a:solidFill>
              <a:srgbClr val="A6A6A6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fr-FR" sz="1867" b="1" dirty="0">
              <a:solidFill>
                <a:srgbClr val="006AB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777E8358-107E-DBAB-D2EA-10B14C1668B4}"/>
              </a:ext>
            </a:extLst>
          </p:cNvPr>
          <p:cNvSpPr txBox="1"/>
          <p:nvPr/>
        </p:nvSpPr>
        <p:spPr>
          <a:xfrm>
            <a:off x="445018" y="1159866"/>
            <a:ext cx="3145383" cy="293823"/>
          </a:xfrm>
          <a:prstGeom prst="rect">
            <a:avLst/>
          </a:prstGeom>
          <a:solidFill>
            <a:schemeClr val="bg1"/>
          </a:solidFill>
        </p:spPr>
        <p:txBody>
          <a:bodyPr wrap="square" lIns="96000" tIns="144000" rIns="96000" bIns="144000" rtlCol="0" anchor="ctr" anchorCtr="0">
            <a:noAutofit/>
          </a:bodyPr>
          <a:lstStyle/>
          <a:p>
            <a:r>
              <a:rPr lang="fr-FR" sz="1867" b="1" i="1" dirty="0">
                <a:solidFill>
                  <a:schemeClr val="bg1"/>
                </a:solidFill>
                <a:highlight>
                  <a:srgbClr val="D2005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Le périmètre des services</a:t>
            </a:r>
          </a:p>
        </p:txBody>
      </p:sp>
      <p:pic>
        <p:nvPicPr>
          <p:cNvPr id="22" name="Graphique 21" descr="Microscope contour">
            <a:extLst>
              <a:ext uri="{FF2B5EF4-FFF2-40B4-BE49-F238E27FC236}">
                <a16:creationId xmlns:a16="http://schemas.microsoft.com/office/drawing/2014/main" id="{664BAB0C-8BF8-4E49-7B5B-D660A64735C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1687" y="1037783"/>
            <a:ext cx="415907" cy="415907"/>
          </a:xfrm>
          <a:prstGeom prst="rect">
            <a:avLst/>
          </a:prstGeom>
        </p:spPr>
      </p:pic>
      <p:graphicFrame>
        <p:nvGraphicFramePr>
          <p:cNvPr id="3" name="Graphique 2">
            <a:extLst>
              <a:ext uri="{FF2B5EF4-FFF2-40B4-BE49-F238E27FC236}">
                <a16:creationId xmlns:a16="http://schemas.microsoft.com/office/drawing/2014/main" id="{4318F7BD-6C91-5C2D-4B05-5264F386BD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82969436"/>
              </p:ext>
            </p:extLst>
          </p:nvPr>
        </p:nvGraphicFramePr>
        <p:xfrm>
          <a:off x="5162662" y="3925448"/>
          <a:ext cx="4768460" cy="28975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pic>
        <p:nvPicPr>
          <p:cNvPr id="5" name="Graphique 4" descr="Informations contour">
            <a:extLst>
              <a:ext uri="{FF2B5EF4-FFF2-40B4-BE49-F238E27FC236}">
                <a16:creationId xmlns:a16="http://schemas.microsoft.com/office/drawing/2014/main" id="{36523C9F-F35B-EC6B-416E-AD34F5641F0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99503" y="5259278"/>
            <a:ext cx="365125" cy="365125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44BB0229-C158-ECD0-3658-BC2A94C66EF7}"/>
              </a:ext>
            </a:extLst>
          </p:cNvPr>
          <p:cNvSpPr txBox="1"/>
          <p:nvPr/>
        </p:nvSpPr>
        <p:spPr>
          <a:xfrm>
            <a:off x="2606565" y="4832240"/>
            <a:ext cx="1219200" cy="1219200"/>
          </a:xfrm>
          <a:prstGeom prst="rect">
            <a:avLst/>
          </a:prstGeom>
          <a:noFill/>
        </p:spPr>
        <p:txBody>
          <a:bodyPr wrap="none" lIns="96000" tIns="144000" rIns="96000" bIns="144000" rtlCol="0" anchor="ctr" anchorCtr="0">
            <a:normAutofit/>
          </a:bodyPr>
          <a:lstStyle/>
          <a:p>
            <a:pPr algn="ctr"/>
            <a:r>
              <a:rPr lang="fr-FR" sz="1333" dirty="0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partition indicative des services par typologie</a:t>
            </a:r>
          </a:p>
        </p:txBody>
      </p:sp>
      <p:sp>
        <p:nvSpPr>
          <p:cNvPr id="2" name="Espace réservé du pied de page 8">
            <a:extLst>
              <a:ext uri="{FF2B5EF4-FFF2-40B4-BE49-F238E27FC236}">
                <a16:creationId xmlns:a16="http://schemas.microsoft.com/office/drawing/2014/main" id="{24396AF5-799A-1E0B-B564-A29F60A50888}"/>
              </a:ext>
            </a:extLst>
          </p:cNvPr>
          <p:cNvSpPr txBox="1">
            <a:spLocks/>
          </p:cNvSpPr>
          <p:nvPr/>
        </p:nvSpPr>
        <p:spPr>
          <a:xfrm>
            <a:off x="0" y="6484938"/>
            <a:ext cx="92360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>
                <a:latin typeface="Arial" panose="020B0604020202020204" pitchFamily="34" charset="0"/>
                <a:cs typeface="Arial" panose="020B0604020202020204" pitchFamily="34" charset="0"/>
              </a:rPr>
              <a:t>Atelier SantExpo | 21/05/2024</a:t>
            </a:r>
          </a:p>
        </p:txBody>
      </p:sp>
    </p:spTree>
    <p:extLst>
      <p:ext uri="{BB962C8B-B14F-4D97-AF65-F5344CB8AC3E}">
        <p14:creationId xmlns:p14="http://schemas.microsoft.com/office/powerpoint/2010/main" val="22011552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AsOne/>
      </p:bldGraphic>
      <p:bldP spid="6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numéro de diapositive 2">
            <a:extLst>
              <a:ext uri="{FF2B5EF4-FFF2-40B4-BE49-F238E27FC236}">
                <a16:creationId xmlns:a16="http://schemas.microsoft.com/office/drawing/2014/main" id="{349A3651-8FEB-DCD2-1137-01B7D2B64AE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492875"/>
            <a:ext cx="382588" cy="365125"/>
          </a:xfrm>
        </p:spPr>
        <p:txBody>
          <a:bodyPr/>
          <a:lstStyle/>
          <a:p>
            <a:fld id="{646E7B68-C406-4B5C-B79D-A1CDE10CB85D}" type="slidenum">
              <a:rPr lang="fr-FR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7</a:t>
            </a:fld>
            <a:endParaRPr lang="fr-F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D892F3E3-1352-8934-84C5-852C10DF58A4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484938"/>
            <a:ext cx="9236075" cy="365125"/>
          </a:xfrm>
        </p:spPr>
        <p:txBody>
          <a:bodyPr/>
          <a:lstStyle/>
          <a:p>
            <a:r>
              <a:rPr lang="fr-FR" dirty="0">
                <a:latin typeface="Arial" panose="020B0604020202020204" pitchFamily="34" charset="0"/>
                <a:cs typeface="Arial" panose="020B0604020202020204" pitchFamily="34" charset="0"/>
              </a:rPr>
              <a:t>Atelier Santexpo | 21/05/2024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22DB5CDE-C915-C357-3DF2-63F68F50F99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03102" y="-8367"/>
            <a:ext cx="1788141" cy="529104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49F8575F-C9C9-2D22-0045-A43CA47FE653}"/>
              </a:ext>
            </a:extLst>
          </p:cNvPr>
          <p:cNvSpPr/>
          <p:nvPr/>
        </p:nvSpPr>
        <p:spPr>
          <a:xfrm>
            <a:off x="265719" y="1423602"/>
            <a:ext cx="11673416" cy="2172841"/>
          </a:xfrm>
          <a:prstGeom prst="rect">
            <a:avLst/>
          </a:prstGeom>
          <a:noFill/>
          <a:ln w="6350">
            <a:solidFill>
              <a:srgbClr val="A6A6A6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fr-FR" sz="1867" b="1" dirty="0">
              <a:solidFill>
                <a:srgbClr val="006AB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15976B27-0D6F-2573-DFC9-E331A5F3FDDA}"/>
              </a:ext>
            </a:extLst>
          </p:cNvPr>
          <p:cNvSpPr txBox="1"/>
          <p:nvPr/>
        </p:nvSpPr>
        <p:spPr>
          <a:xfrm>
            <a:off x="445017" y="1300801"/>
            <a:ext cx="2751783" cy="122801"/>
          </a:xfrm>
          <a:prstGeom prst="rect">
            <a:avLst/>
          </a:prstGeom>
          <a:solidFill>
            <a:schemeClr val="bg1"/>
          </a:solidFill>
        </p:spPr>
        <p:txBody>
          <a:bodyPr wrap="square" lIns="96000" tIns="144000" rIns="96000" bIns="144000" rtlCol="0" anchor="ctr" anchorCtr="0">
            <a:noAutofit/>
          </a:bodyPr>
          <a:lstStyle/>
          <a:p>
            <a:r>
              <a:rPr lang="fr-FR" sz="1867" b="1" i="1" dirty="0">
                <a:solidFill>
                  <a:schemeClr val="bg1"/>
                </a:solidFill>
                <a:highlight>
                  <a:srgbClr val="D2005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Les données affichées</a:t>
            </a:r>
          </a:p>
        </p:txBody>
      </p:sp>
      <p:pic>
        <p:nvPicPr>
          <p:cNvPr id="21" name="Graphique 20" descr="Base de données contour">
            <a:extLst>
              <a:ext uri="{FF2B5EF4-FFF2-40B4-BE49-F238E27FC236}">
                <a16:creationId xmlns:a16="http://schemas.microsoft.com/office/drawing/2014/main" id="{72ECFE46-3E58-E9B3-7BE3-C43F31BC0E9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1049" y="1207829"/>
            <a:ext cx="437024" cy="437024"/>
          </a:xfrm>
          <a:prstGeom prst="rect">
            <a:avLst/>
          </a:prstGeom>
        </p:spPr>
      </p:pic>
      <p:sp>
        <p:nvSpPr>
          <p:cNvPr id="13" name="Titre 1">
            <a:extLst>
              <a:ext uri="{FF2B5EF4-FFF2-40B4-BE49-F238E27FC236}">
                <a16:creationId xmlns:a16="http://schemas.microsoft.com/office/drawing/2014/main" id="{51F5F31F-2C13-8897-1BBB-87228AB55842}"/>
              </a:ext>
            </a:extLst>
          </p:cNvPr>
          <p:cNvSpPr txBox="1">
            <a:spLocks/>
          </p:cNvSpPr>
          <p:nvPr/>
        </p:nvSpPr>
        <p:spPr>
          <a:xfrm>
            <a:off x="1307638" y="212271"/>
            <a:ext cx="10883605" cy="72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1219140" rtl="0" eaLnBrk="1" latinLnBrk="0" hangingPunct="1">
              <a:lnSpc>
                <a:spcPts val="2933"/>
              </a:lnSpc>
              <a:spcBef>
                <a:spcPct val="0"/>
              </a:spcBef>
              <a:buNone/>
              <a:defRPr sz="2667" b="1" kern="1200">
                <a:solidFill>
                  <a:srgbClr val="006AB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lnSpc>
                <a:spcPts val="2500"/>
              </a:lnSpc>
            </a:pPr>
            <a:r>
              <a:rPr lang="fr-FR" sz="2400" dirty="0">
                <a:latin typeface="Arial" panose="020B0604020202020204" pitchFamily="34" charset="0"/>
                <a:cs typeface="Arial" panose="020B0604020202020204" pitchFamily="34" charset="0"/>
              </a:rPr>
              <a:t>Que présente cette première version de la cartographie ?</a:t>
            </a:r>
          </a:p>
        </p:txBody>
      </p:sp>
      <p:sp>
        <p:nvSpPr>
          <p:cNvPr id="15" name="ZoneTexte 17">
            <a:extLst>
              <a:ext uri="{FF2B5EF4-FFF2-40B4-BE49-F238E27FC236}">
                <a16:creationId xmlns:a16="http://schemas.microsoft.com/office/drawing/2014/main" id="{0E0D4504-E42E-79C8-CB9E-5EC3DD030684}"/>
              </a:ext>
            </a:extLst>
          </p:cNvPr>
          <p:cNvSpPr txBox="1"/>
          <p:nvPr/>
        </p:nvSpPr>
        <p:spPr>
          <a:xfrm>
            <a:off x="278574" y="1541601"/>
            <a:ext cx="11660561" cy="2041264"/>
          </a:xfrm>
          <a:prstGeom prst="rect">
            <a:avLst/>
          </a:prstGeom>
          <a:noFill/>
        </p:spPr>
        <p:txBody>
          <a:bodyPr wrap="square" numCol="1" spcCol="216000">
            <a:spAutoFit/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9pPr>
          </a:lstStyle>
          <a:p>
            <a:pPr marL="143996" indent="-143996" algn="just">
              <a:spcBef>
                <a:spcPts val="1600"/>
              </a:spcBef>
              <a:buClr>
                <a:srgbClr val="5268A5"/>
              </a:buClr>
              <a:buFont typeface="Arial" panose="020B0604020202020204" pitchFamily="34" charset="0"/>
              <a:buChar char="•"/>
            </a:pPr>
            <a:r>
              <a:rPr lang="fr-FR" sz="1733" b="1" i="1" dirty="0">
                <a:solidFill>
                  <a:srgbClr val="5268A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cription synthétique du service : </a:t>
            </a:r>
            <a:r>
              <a:rPr lang="fr-FR" sz="1733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gion, objet et usages, lien vers la page régionale de présentation</a:t>
            </a:r>
          </a:p>
          <a:p>
            <a:pPr marL="143996" indent="-143996">
              <a:spcBef>
                <a:spcPts val="1600"/>
              </a:spcBef>
              <a:buClr>
                <a:srgbClr val="5268A5"/>
              </a:buClr>
              <a:buFont typeface="Arial" panose="020B0604020202020204" pitchFamily="34" charset="0"/>
              <a:buChar char="•"/>
            </a:pPr>
            <a:r>
              <a:rPr lang="fr-FR" sz="1733" b="1" i="1" dirty="0">
                <a:solidFill>
                  <a:srgbClr val="5268A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ypologie du service : </a:t>
            </a:r>
            <a:r>
              <a:rPr lang="fr-FR" sz="1733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ncipal domaine métier couvert</a:t>
            </a:r>
            <a:br>
              <a:rPr lang="fr-FR" sz="1733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733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orientation, coordination, échange, production de soins,…)</a:t>
            </a:r>
          </a:p>
          <a:p>
            <a:pPr marL="143996" indent="-143996" algn="just">
              <a:spcBef>
                <a:spcPts val="1600"/>
              </a:spcBef>
              <a:buClr>
                <a:srgbClr val="5268A5"/>
              </a:buClr>
              <a:buFont typeface="Arial" panose="020B0604020202020204" pitchFamily="34" charset="0"/>
              <a:buChar char="•"/>
            </a:pPr>
            <a:r>
              <a:rPr lang="fr-FR" sz="1733" b="1" i="1" dirty="0">
                <a:solidFill>
                  <a:srgbClr val="5268A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spectives d’évolution : </a:t>
            </a:r>
            <a:r>
              <a:rPr lang="fr-FR" sz="1733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richissement fonctionnel, intégration de composants, arrêt progressif,…</a:t>
            </a:r>
            <a:endParaRPr lang="fr-FR" sz="1733" b="1" i="1" dirty="0">
              <a:solidFill>
                <a:srgbClr val="5268A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43996" indent="-143996" algn="just">
              <a:spcBef>
                <a:spcPts val="1600"/>
              </a:spcBef>
              <a:buClr>
                <a:srgbClr val="5268A5"/>
              </a:buClr>
              <a:buFont typeface="Arial" panose="020B0604020202020204" pitchFamily="34" charset="0"/>
              <a:buChar char="•"/>
            </a:pPr>
            <a:r>
              <a:rPr lang="fr-FR" sz="1733" b="1" i="1" dirty="0">
                <a:solidFill>
                  <a:srgbClr val="5268A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égration des référentiels et services socles </a:t>
            </a:r>
            <a:r>
              <a:rPr lang="fr-FR" sz="1733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tels que définis dans la doctrine du numérique en santé)</a:t>
            </a:r>
          </a:p>
        </p:txBody>
      </p:sp>
      <p:sp>
        <p:nvSpPr>
          <p:cNvPr id="16" name="ZoneTexte 4">
            <a:extLst>
              <a:ext uri="{FF2B5EF4-FFF2-40B4-BE49-F238E27FC236}">
                <a16:creationId xmlns:a16="http://schemas.microsoft.com/office/drawing/2014/main" id="{EF9ADC88-F84E-3AAF-4A45-9BD16B5D0477}"/>
              </a:ext>
            </a:extLst>
          </p:cNvPr>
          <p:cNvSpPr txBox="1"/>
          <p:nvPr/>
        </p:nvSpPr>
        <p:spPr>
          <a:xfrm>
            <a:off x="278493" y="3802636"/>
            <a:ext cx="11673415" cy="231789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5"/>
            </a:solidFill>
          </a:ln>
        </p:spPr>
        <p:txBody>
          <a:bodyPr wrap="square" numCol="2" spcCol="288000" anchor="ctr">
            <a:noAutofit/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9pPr>
          </a:lstStyle>
          <a:p>
            <a:pPr marL="143996" indent="-143996" algn="just">
              <a:spcBef>
                <a:spcPts val="400"/>
              </a:spcBef>
              <a:spcAft>
                <a:spcPts val="400"/>
              </a:spcAft>
              <a:buClr>
                <a:srgbClr val="C7176A"/>
              </a:buClr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férencement au sein du catalogue de services de </a:t>
            </a:r>
            <a:r>
              <a:rPr lang="fr-FR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n espace santé</a:t>
            </a:r>
          </a:p>
          <a:p>
            <a:pPr marL="143996" indent="-143996" algn="just">
              <a:spcBef>
                <a:spcPts val="400"/>
              </a:spcBef>
              <a:spcAft>
                <a:spcPts val="400"/>
              </a:spcAft>
              <a:buClr>
                <a:srgbClr val="C7176A"/>
              </a:buClr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égration du téléservice </a:t>
            </a:r>
            <a:r>
              <a:rPr lang="fr-FR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i</a:t>
            </a:r>
            <a:r>
              <a:rPr lang="fr-FR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t implémentation des  identités </a:t>
            </a:r>
            <a:r>
              <a:rPr lang="fr-FR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</a:t>
            </a:r>
          </a:p>
          <a:p>
            <a:pPr marL="143996" indent="-143996" algn="just">
              <a:spcBef>
                <a:spcPts val="400"/>
              </a:spcBef>
              <a:spcAft>
                <a:spcPts val="400"/>
              </a:spcAft>
              <a:buClr>
                <a:srgbClr val="C7176A"/>
              </a:buClr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e en œuvre de </a:t>
            </a:r>
            <a:r>
              <a:rPr lang="fr-FR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 Santé Connect </a:t>
            </a:r>
            <a:r>
              <a:rPr lang="fr-FR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identifier les professionnels de santé</a:t>
            </a:r>
          </a:p>
          <a:p>
            <a:pPr marL="143996" indent="-143996" algn="just">
              <a:spcBef>
                <a:spcPts val="400"/>
              </a:spcBef>
              <a:spcAft>
                <a:spcPts val="400"/>
              </a:spcAft>
              <a:buClr>
                <a:srgbClr val="C7176A"/>
              </a:buClr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changes de données de santé à caractère personnel à l'aide d'une messagerie </a:t>
            </a:r>
            <a:r>
              <a:rPr lang="fr-FR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SSanté</a:t>
            </a:r>
          </a:p>
          <a:p>
            <a:pPr marL="143996" indent="-143996" algn="just">
              <a:spcBef>
                <a:spcPts val="400"/>
              </a:spcBef>
              <a:spcAft>
                <a:spcPts val="400"/>
              </a:spcAft>
              <a:buClr>
                <a:srgbClr val="C7176A"/>
              </a:buClr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ilisation du </a:t>
            </a:r>
            <a:r>
              <a:rPr lang="fr-FR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MP</a:t>
            </a:r>
            <a:r>
              <a:rPr lang="fr-FR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mme stockage des documents de synthèse</a:t>
            </a:r>
          </a:p>
          <a:p>
            <a:pPr marL="143996" indent="-143996" algn="just">
              <a:spcBef>
                <a:spcPts val="400"/>
              </a:spcBef>
              <a:spcAft>
                <a:spcPts val="400"/>
              </a:spcAft>
              <a:buClr>
                <a:srgbClr val="C7176A"/>
              </a:buClr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ntification des acteurs de santé personnes morales au moins à l'aide de l'identité nationale (</a:t>
            </a:r>
            <a:r>
              <a:rPr lang="fr-FR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ESS</a:t>
            </a:r>
            <a:r>
              <a:rPr lang="fr-FR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143996" indent="-143996" algn="just">
              <a:spcBef>
                <a:spcPts val="400"/>
              </a:spcBef>
              <a:spcAft>
                <a:spcPts val="400"/>
              </a:spcAft>
              <a:buClr>
                <a:srgbClr val="C7176A"/>
              </a:buClr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ntification des acteurs de santé personnes physiques au moins à l'aide de l'identité nationale (</a:t>
            </a:r>
            <a:r>
              <a:rPr lang="fr-FR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PS</a:t>
            </a:r>
            <a:r>
              <a:rPr lang="fr-FR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143996" indent="-143996" algn="just">
              <a:spcBef>
                <a:spcPts val="400"/>
              </a:spcBef>
              <a:spcAft>
                <a:spcPts val="400"/>
              </a:spcAft>
              <a:buClr>
                <a:srgbClr val="C7176A"/>
              </a:buClr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ommation du Répertoire de l’offre et des ressources (</a:t>
            </a:r>
            <a:r>
              <a:rPr lang="fr-FR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R)</a:t>
            </a:r>
            <a:r>
              <a:rPr lang="fr-FR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our connaître l’offre de santé</a:t>
            </a:r>
          </a:p>
        </p:txBody>
      </p:sp>
      <p:cxnSp>
        <p:nvCxnSpPr>
          <p:cNvPr id="17" name="Connecteur : en arc 16">
            <a:extLst>
              <a:ext uri="{FF2B5EF4-FFF2-40B4-BE49-F238E27FC236}">
                <a16:creationId xmlns:a16="http://schemas.microsoft.com/office/drawing/2014/main" id="{BE7BC588-7AEF-BF7D-5CA8-B099F4217BCC}"/>
              </a:ext>
            </a:extLst>
          </p:cNvPr>
          <p:cNvCxnSpPr>
            <a:cxnSpLocks/>
            <a:stCxn id="15" idx="2"/>
            <a:endCxn id="16" idx="0"/>
          </p:cNvCxnSpPr>
          <p:nvPr/>
        </p:nvCxnSpPr>
        <p:spPr>
          <a:xfrm rot="16200000" flipH="1">
            <a:off x="6002143" y="3689577"/>
            <a:ext cx="219771" cy="6346"/>
          </a:xfrm>
          <a:prstGeom prst="curvedConnector3">
            <a:avLst>
              <a:gd name="adj1" fmla="val 50000"/>
            </a:avLst>
          </a:prstGeom>
          <a:ln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e 3">
            <a:extLst>
              <a:ext uri="{FF2B5EF4-FFF2-40B4-BE49-F238E27FC236}">
                <a16:creationId xmlns:a16="http://schemas.microsoft.com/office/drawing/2014/main" id="{907FE4DC-5F63-DABC-2C83-D400A02ECC92}"/>
              </a:ext>
            </a:extLst>
          </p:cNvPr>
          <p:cNvGrpSpPr/>
          <p:nvPr/>
        </p:nvGrpSpPr>
        <p:grpSpPr>
          <a:xfrm>
            <a:off x="70307" y="3623364"/>
            <a:ext cx="365125" cy="365125"/>
            <a:chOff x="-167897" y="2754669"/>
            <a:chExt cx="273844" cy="273844"/>
          </a:xfrm>
        </p:grpSpPr>
        <p:sp>
          <p:nvSpPr>
            <p:cNvPr id="2" name="Ellipse 1">
              <a:extLst>
                <a:ext uri="{FF2B5EF4-FFF2-40B4-BE49-F238E27FC236}">
                  <a16:creationId xmlns:a16="http://schemas.microsoft.com/office/drawing/2014/main" id="{D02185C2-FE5B-4F1C-E32C-548C5FBBE821}"/>
                </a:ext>
              </a:extLst>
            </p:cNvPr>
            <p:cNvSpPr/>
            <p:nvPr/>
          </p:nvSpPr>
          <p:spPr>
            <a:xfrm>
              <a:off x="-124691" y="2784764"/>
              <a:ext cx="215478" cy="206603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" name="Graphique 2" descr="Informations contour">
              <a:extLst>
                <a:ext uri="{FF2B5EF4-FFF2-40B4-BE49-F238E27FC236}">
                  <a16:creationId xmlns:a16="http://schemas.microsoft.com/office/drawing/2014/main" id="{1D68057C-0A8A-F34A-50D1-203A5D9ADBC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-167897" y="2754669"/>
              <a:ext cx="273844" cy="27384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505885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oneTexte 5">
            <a:extLst>
              <a:ext uri="{FF2B5EF4-FFF2-40B4-BE49-F238E27FC236}">
                <a16:creationId xmlns:a16="http://schemas.microsoft.com/office/drawing/2014/main" id="{19945F48-F30D-1D5D-CA32-1D45B46897C0}"/>
              </a:ext>
            </a:extLst>
          </p:cNvPr>
          <p:cNvSpPr txBox="1"/>
          <p:nvPr/>
        </p:nvSpPr>
        <p:spPr>
          <a:xfrm>
            <a:off x="265720" y="1383878"/>
            <a:ext cx="11660561" cy="1364220"/>
          </a:xfrm>
          <a:prstGeom prst="rect">
            <a:avLst/>
          </a:prstGeom>
          <a:noFill/>
        </p:spPr>
        <p:txBody>
          <a:bodyPr wrap="square" numCol="1" spcCol="216000">
            <a:spAutoFit/>
          </a:bodyPr>
          <a:lstStyle/>
          <a:p>
            <a:pPr marL="143996" indent="-143996" algn="just">
              <a:spcBef>
                <a:spcPts val="1600"/>
              </a:spcBef>
              <a:buClr>
                <a:srgbClr val="5268A5"/>
              </a:buClr>
              <a:buFont typeface="Arial" panose="020B0604020202020204" pitchFamily="34" charset="0"/>
              <a:buChar char="•"/>
            </a:pPr>
            <a:r>
              <a:rPr lang="fr-FR" sz="1733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e cartographie qui </a:t>
            </a:r>
            <a:r>
              <a:rPr lang="fr-FR" sz="1733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 constitue pas l’exhaustivité des offres proposées </a:t>
            </a:r>
            <a:r>
              <a:rPr lang="fr-FR" sz="1733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 régions et a vocation à être enrichie. En particulier, services non proposés directement par les ARS et les GRADeS non présentés</a:t>
            </a:r>
          </a:p>
          <a:p>
            <a:pPr marL="143996" indent="-143996" algn="just">
              <a:spcBef>
                <a:spcPts val="1600"/>
              </a:spcBef>
              <a:buClr>
                <a:srgbClr val="5268A5"/>
              </a:buClr>
              <a:buFont typeface="Arial" panose="020B0604020202020204" pitchFamily="34" charset="0"/>
              <a:buChar char="•"/>
            </a:pPr>
            <a:r>
              <a:rPr lang="fr-FR" sz="1733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nées affichées recensées et synthétisées par l'ANS sur la base d'informations fournies et validées par les ARS et les GRADeS. </a:t>
            </a:r>
            <a:r>
              <a:rPr lang="fr-FR" sz="1733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ulter directement les sites des GRADeS pour plus d’informa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E2C0146-647D-3E94-0AEB-6F47195A6ABE}"/>
              </a:ext>
            </a:extLst>
          </p:cNvPr>
          <p:cNvSpPr/>
          <p:nvPr/>
        </p:nvSpPr>
        <p:spPr>
          <a:xfrm>
            <a:off x="265719" y="1248246"/>
            <a:ext cx="11673416" cy="1643109"/>
          </a:xfrm>
          <a:prstGeom prst="rect">
            <a:avLst/>
          </a:prstGeom>
          <a:noFill/>
          <a:ln w="6350">
            <a:solidFill>
              <a:srgbClr val="A6A6A6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fr-FR" sz="1867" b="1" dirty="0">
              <a:solidFill>
                <a:srgbClr val="006AB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8D250EFA-1832-52F7-3A3C-8C1A5C3FB79E}"/>
              </a:ext>
            </a:extLst>
          </p:cNvPr>
          <p:cNvSpPr txBox="1"/>
          <p:nvPr/>
        </p:nvSpPr>
        <p:spPr>
          <a:xfrm>
            <a:off x="445018" y="1114012"/>
            <a:ext cx="3606183" cy="270088"/>
          </a:xfrm>
          <a:prstGeom prst="rect">
            <a:avLst/>
          </a:prstGeom>
          <a:solidFill>
            <a:schemeClr val="bg1"/>
          </a:solidFill>
        </p:spPr>
        <p:txBody>
          <a:bodyPr wrap="square" lIns="96000" tIns="144000" rIns="96000" bIns="144000" rtlCol="0" anchor="ctr" anchorCtr="0">
            <a:noAutofit/>
          </a:bodyPr>
          <a:lstStyle/>
          <a:p>
            <a:r>
              <a:rPr lang="fr-FR" sz="1867" b="1" i="1" dirty="0">
                <a:solidFill>
                  <a:schemeClr val="bg1"/>
                </a:solidFill>
                <a:highlight>
                  <a:srgbClr val="D2005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Exhaustivité des offres</a:t>
            </a:r>
          </a:p>
        </p:txBody>
      </p:sp>
      <p:pic>
        <p:nvPicPr>
          <p:cNvPr id="11" name="Graphique 10" descr="Mégaphone1 contour">
            <a:extLst>
              <a:ext uri="{FF2B5EF4-FFF2-40B4-BE49-F238E27FC236}">
                <a16:creationId xmlns:a16="http://schemas.microsoft.com/office/drawing/2014/main" id="{98EE26F6-260F-B197-CADB-E4C3D26E251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2412" y="977879"/>
            <a:ext cx="540731" cy="540731"/>
          </a:xfrm>
          <a:prstGeom prst="rect">
            <a:avLst/>
          </a:prstGeom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4628E21F-845F-D63C-A036-8B6A099D05B1}"/>
              </a:ext>
            </a:extLst>
          </p:cNvPr>
          <p:cNvSpPr txBox="1"/>
          <p:nvPr/>
        </p:nvSpPr>
        <p:spPr>
          <a:xfrm>
            <a:off x="252866" y="3117372"/>
            <a:ext cx="11660561" cy="1302729"/>
          </a:xfrm>
          <a:prstGeom prst="rect">
            <a:avLst/>
          </a:prstGeom>
          <a:noFill/>
        </p:spPr>
        <p:txBody>
          <a:bodyPr wrap="square" numCol="1" spcCol="216000">
            <a:spAutoFit/>
          </a:bodyPr>
          <a:lstStyle/>
          <a:p>
            <a:pPr algn="just"/>
            <a:endParaRPr lang="fr-FR" sz="1733" u="sng" dirty="0">
              <a:solidFill>
                <a:schemeClr val="accent5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43996" indent="-143996" algn="just">
              <a:spcBef>
                <a:spcPts val="1600"/>
              </a:spcBef>
              <a:buClr>
                <a:srgbClr val="5268A5"/>
              </a:buClr>
              <a:buFont typeface="Arial" panose="020B0604020202020204" pitchFamily="34" charset="0"/>
              <a:buChar char="•"/>
            </a:pPr>
            <a:r>
              <a:rPr lang="fr-FR" sz="1733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uf exception dûment signalée, </a:t>
            </a:r>
            <a:r>
              <a:rPr lang="fr-FR" sz="1733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fres régionales non accessibles en dehors de la région concernée</a:t>
            </a:r>
          </a:p>
          <a:p>
            <a:pPr marL="143996" indent="-143996" algn="just">
              <a:spcBef>
                <a:spcPts val="1600"/>
              </a:spcBef>
              <a:buClr>
                <a:srgbClr val="5268A5"/>
              </a:buClr>
              <a:buFont typeface="Arial" panose="020B0604020202020204" pitchFamily="34" charset="0"/>
              <a:buChar char="•"/>
            </a:pPr>
            <a:r>
              <a:rPr lang="fr-FR" sz="1733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bénéficier d’une ou plusieurs de ces offres, </a:t>
            </a:r>
            <a:r>
              <a:rPr lang="fr-FR" sz="1733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 rapprocher directement des ARS et GRADeS concerné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118E704-0409-A062-FC85-0856CF571D80}"/>
              </a:ext>
            </a:extLst>
          </p:cNvPr>
          <p:cNvSpPr/>
          <p:nvPr/>
        </p:nvSpPr>
        <p:spPr>
          <a:xfrm>
            <a:off x="252865" y="3301103"/>
            <a:ext cx="11673416" cy="1168263"/>
          </a:xfrm>
          <a:prstGeom prst="rect">
            <a:avLst/>
          </a:prstGeom>
          <a:noFill/>
          <a:ln w="6350">
            <a:solidFill>
              <a:srgbClr val="A6A6A6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fr-FR" sz="1867" b="1" dirty="0">
              <a:solidFill>
                <a:srgbClr val="006AB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9B3217FC-A7FA-1DEE-2A5E-E37C08EA8F42}"/>
              </a:ext>
            </a:extLst>
          </p:cNvPr>
          <p:cNvSpPr txBox="1"/>
          <p:nvPr/>
        </p:nvSpPr>
        <p:spPr>
          <a:xfrm>
            <a:off x="432165" y="3166870"/>
            <a:ext cx="2755036" cy="257577"/>
          </a:xfrm>
          <a:prstGeom prst="rect">
            <a:avLst/>
          </a:prstGeom>
          <a:solidFill>
            <a:schemeClr val="bg1"/>
          </a:solidFill>
        </p:spPr>
        <p:txBody>
          <a:bodyPr wrap="square" lIns="96000" tIns="144000" rIns="96000" bIns="144000" rtlCol="0" anchor="ctr" anchorCtr="0">
            <a:noAutofit/>
          </a:bodyPr>
          <a:lstStyle/>
          <a:p>
            <a:r>
              <a:rPr lang="fr-FR" sz="1867" b="1" i="1" dirty="0">
                <a:solidFill>
                  <a:schemeClr val="bg1"/>
                </a:solidFill>
                <a:highlight>
                  <a:srgbClr val="D2005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Accès aux offres</a:t>
            </a:r>
          </a:p>
        </p:txBody>
      </p:sp>
      <p:pic>
        <p:nvPicPr>
          <p:cNvPr id="15" name="Graphique 14" descr="Mégaphone1 contour">
            <a:extLst>
              <a:ext uri="{FF2B5EF4-FFF2-40B4-BE49-F238E27FC236}">
                <a16:creationId xmlns:a16="http://schemas.microsoft.com/office/drawing/2014/main" id="{30A54EF1-AB0F-43D3-3A5B-1CADB29ED66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559" y="3046572"/>
            <a:ext cx="540731" cy="540731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90CAFF87-3B80-F028-3AFD-D54478106137}"/>
              </a:ext>
            </a:extLst>
          </p:cNvPr>
          <p:cNvSpPr/>
          <p:nvPr/>
        </p:nvSpPr>
        <p:spPr>
          <a:xfrm>
            <a:off x="252865" y="4888282"/>
            <a:ext cx="11673416" cy="1524393"/>
          </a:xfrm>
          <a:prstGeom prst="rect">
            <a:avLst/>
          </a:prstGeom>
          <a:noFill/>
          <a:ln w="6350">
            <a:solidFill>
              <a:srgbClr val="A6A6A6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fr-FR" sz="1867" b="1" dirty="0">
              <a:solidFill>
                <a:srgbClr val="006AB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1B012699-A020-BAAB-1459-4DD470FD124D}"/>
              </a:ext>
            </a:extLst>
          </p:cNvPr>
          <p:cNvSpPr txBox="1"/>
          <p:nvPr/>
        </p:nvSpPr>
        <p:spPr>
          <a:xfrm>
            <a:off x="432165" y="4754049"/>
            <a:ext cx="2611035" cy="264216"/>
          </a:xfrm>
          <a:prstGeom prst="rect">
            <a:avLst/>
          </a:prstGeom>
          <a:solidFill>
            <a:schemeClr val="bg1"/>
          </a:solidFill>
        </p:spPr>
        <p:txBody>
          <a:bodyPr wrap="square" lIns="96000" tIns="144000" rIns="96000" bIns="144000" rtlCol="0" anchor="ctr" anchorCtr="0">
            <a:noAutofit/>
          </a:bodyPr>
          <a:lstStyle/>
          <a:p>
            <a:r>
              <a:rPr lang="fr-FR" sz="1867" b="1" i="1" dirty="0">
                <a:solidFill>
                  <a:schemeClr val="bg1"/>
                </a:solidFill>
                <a:highlight>
                  <a:srgbClr val="D2005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Et au-delà des outils</a:t>
            </a:r>
          </a:p>
        </p:txBody>
      </p:sp>
      <p:pic>
        <p:nvPicPr>
          <p:cNvPr id="18" name="Graphique 17" descr="Mégaphone1 contour">
            <a:extLst>
              <a:ext uri="{FF2B5EF4-FFF2-40B4-BE49-F238E27FC236}">
                <a16:creationId xmlns:a16="http://schemas.microsoft.com/office/drawing/2014/main" id="{CA512EBE-7938-C5A1-5D42-FDA258630B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559" y="4617916"/>
            <a:ext cx="540731" cy="540731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5B0363F2-D750-3EF2-2A3A-069B9375259D}"/>
              </a:ext>
            </a:extLst>
          </p:cNvPr>
          <p:cNvSpPr txBox="1"/>
          <p:nvPr/>
        </p:nvSpPr>
        <p:spPr>
          <a:xfrm>
            <a:off x="302778" y="5018265"/>
            <a:ext cx="11660561" cy="1364220"/>
          </a:xfrm>
          <a:prstGeom prst="rect">
            <a:avLst/>
          </a:prstGeom>
          <a:noFill/>
        </p:spPr>
        <p:txBody>
          <a:bodyPr wrap="square" numCol="1" spcCol="216000">
            <a:spAutoFit/>
          </a:bodyPr>
          <a:lstStyle/>
          <a:p>
            <a:pPr marL="143996" indent="-143996" algn="just">
              <a:spcBef>
                <a:spcPts val="1600"/>
              </a:spcBef>
              <a:buClr>
                <a:srgbClr val="5268A5"/>
              </a:buClr>
              <a:buFont typeface="Arial" panose="020B0604020202020204" pitchFamily="34" charset="0"/>
              <a:buChar char="•"/>
            </a:pPr>
            <a:r>
              <a:rPr lang="fr-FR" sz="1733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 </a:t>
            </a:r>
            <a:r>
              <a:rPr lang="fr-FR" sz="1733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rge périmètre de services proposés par les ARS et GRADeS au-delà de ces outils</a:t>
            </a:r>
            <a:r>
              <a:rPr lang="fr-FR" sz="1733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pour accompagner les établissements et les professionnels (des secteurs sanitaire, médico-social et social) dans leurs projets et usages du numérique en santé</a:t>
            </a:r>
          </a:p>
          <a:p>
            <a:pPr marL="143996" indent="-143996" algn="just">
              <a:spcBef>
                <a:spcPts val="1600"/>
              </a:spcBef>
              <a:buClr>
                <a:srgbClr val="5268A5"/>
              </a:buClr>
              <a:buFont typeface="Arial" panose="020B0604020202020204" pitchFamily="34" charset="0"/>
              <a:buChar char="•"/>
            </a:pPr>
            <a:r>
              <a:rPr lang="fr-FR" sz="1733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’hésitez pas à consulter leurs sites pour plus d’informations !</a:t>
            </a:r>
          </a:p>
        </p:txBody>
      </p:sp>
      <p:sp>
        <p:nvSpPr>
          <p:cNvPr id="5" name="Titre 1">
            <a:extLst>
              <a:ext uri="{FF2B5EF4-FFF2-40B4-BE49-F238E27FC236}">
                <a16:creationId xmlns:a16="http://schemas.microsoft.com/office/drawing/2014/main" id="{B59F9029-01B9-2841-3B5B-B772F119E59E}"/>
              </a:ext>
            </a:extLst>
          </p:cNvPr>
          <p:cNvSpPr txBox="1">
            <a:spLocks/>
          </p:cNvSpPr>
          <p:nvPr/>
        </p:nvSpPr>
        <p:spPr>
          <a:xfrm>
            <a:off x="1308395" y="308889"/>
            <a:ext cx="10883605" cy="72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1219140" rtl="0" eaLnBrk="1" latinLnBrk="0" hangingPunct="1">
              <a:lnSpc>
                <a:spcPts val="2933"/>
              </a:lnSpc>
              <a:spcBef>
                <a:spcPct val="0"/>
              </a:spcBef>
              <a:buNone/>
              <a:defRPr sz="2667" b="1" kern="1200">
                <a:solidFill>
                  <a:srgbClr val="006AB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lnSpc>
                <a:spcPts val="2500"/>
              </a:lnSpc>
            </a:pPr>
            <a:r>
              <a:rPr lang="fr-FR" sz="2400" dirty="0">
                <a:latin typeface="Arial" panose="020B0604020202020204" pitchFamily="34" charset="0"/>
                <a:cs typeface="Arial" panose="020B0604020202020204" pitchFamily="34" charset="0"/>
              </a:rPr>
              <a:t>Quelques points d’attention…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0D5D00E6-85A8-606A-9F0F-2B2BC5CB606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492875"/>
            <a:ext cx="382588" cy="365125"/>
          </a:xfrm>
        </p:spPr>
        <p:txBody>
          <a:bodyPr/>
          <a:lstStyle/>
          <a:p>
            <a:fld id="{646E7B68-C406-4B5C-B79D-A1CDE10CB85D}" type="slidenum">
              <a:rPr lang="fr-FR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8</a:t>
            </a:fld>
            <a:endParaRPr lang="fr-F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Espace réservé du pied de page 8">
            <a:extLst>
              <a:ext uri="{FF2B5EF4-FFF2-40B4-BE49-F238E27FC236}">
                <a16:creationId xmlns:a16="http://schemas.microsoft.com/office/drawing/2014/main" id="{D2295D78-6156-2DA9-1DB7-7DA9678458C1}"/>
              </a:ext>
            </a:extLst>
          </p:cNvPr>
          <p:cNvSpPr txBox="1">
            <a:spLocks/>
          </p:cNvSpPr>
          <p:nvPr/>
        </p:nvSpPr>
        <p:spPr>
          <a:xfrm>
            <a:off x="0" y="6484938"/>
            <a:ext cx="92360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>
                <a:latin typeface="Arial" panose="020B0604020202020204" pitchFamily="34" charset="0"/>
                <a:cs typeface="Arial" panose="020B0604020202020204" pitchFamily="34" charset="0"/>
              </a:rPr>
              <a:t>Atelier SantExpo | 21/05/2024</a:t>
            </a:r>
          </a:p>
        </p:txBody>
      </p:sp>
    </p:spTree>
    <p:extLst>
      <p:ext uri="{BB962C8B-B14F-4D97-AF65-F5344CB8AC3E}">
        <p14:creationId xmlns:p14="http://schemas.microsoft.com/office/powerpoint/2010/main" val="26138140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 animBg="1"/>
      <p:bldP spid="14" grpId="0" animBg="1"/>
      <p:bldP spid="16" grpId="0" animBg="1"/>
      <p:bldP spid="17" grpId="0" animBg="1"/>
      <p:bldP spid="19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2">
            <a:extLst>
              <a:ext uri="{FF2B5EF4-FFF2-40B4-BE49-F238E27FC236}">
                <a16:creationId xmlns:a16="http://schemas.microsoft.com/office/drawing/2014/main" id="{E52831F6-0C5A-A845-C7E6-F6EF9C4E341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492875"/>
            <a:ext cx="382588" cy="365125"/>
          </a:xfrm>
        </p:spPr>
        <p:txBody>
          <a:bodyPr/>
          <a:lstStyle/>
          <a:p>
            <a:fld id="{646E7B68-C406-4B5C-B79D-A1CDE10CB85D}" type="slidenum">
              <a:rPr lang="fr-FR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9</a:t>
            </a:fld>
            <a:endParaRPr lang="fr-F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BBD5E02F-1C77-4B86-12FE-5DD8F2D09CA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03102" y="-8367"/>
            <a:ext cx="1788141" cy="529104"/>
          </a:xfrm>
          <a:prstGeom prst="rect">
            <a:avLst/>
          </a:prstGeom>
        </p:spPr>
      </p:pic>
      <p:sp>
        <p:nvSpPr>
          <p:cNvPr id="14" name="Titre 1">
            <a:extLst>
              <a:ext uri="{FF2B5EF4-FFF2-40B4-BE49-F238E27FC236}">
                <a16:creationId xmlns:a16="http://schemas.microsoft.com/office/drawing/2014/main" id="{6C520297-EFBC-4098-FDC2-7CEC207FD7C5}"/>
              </a:ext>
            </a:extLst>
          </p:cNvPr>
          <p:cNvSpPr txBox="1">
            <a:spLocks/>
          </p:cNvSpPr>
          <p:nvPr/>
        </p:nvSpPr>
        <p:spPr>
          <a:xfrm>
            <a:off x="1234402" y="239132"/>
            <a:ext cx="10883605" cy="72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1219140" rtl="0" eaLnBrk="1" latinLnBrk="0" hangingPunct="1">
              <a:lnSpc>
                <a:spcPts val="2933"/>
              </a:lnSpc>
              <a:spcBef>
                <a:spcPct val="0"/>
              </a:spcBef>
              <a:buNone/>
              <a:defRPr sz="2667" b="1" kern="1200">
                <a:solidFill>
                  <a:srgbClr val="006AB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lnSpc>
                <a:spcPts val="2500"/>
              </a:lnSpc>
            </a:pPr>
            <a:r>
              <a:rPr lang="fr-FR" sz="2400" dirty="0">
                <a:latin typeface="Arial" panose="020B0604020202020204" pitchFamily="34" charset="0"/>
                <a:cs typeface="Arial" panose="020B0604020202020204" pitchFamily="34" charset="0"/>
              </a:rPr>
              <a:t>La première version finalisée de la cartographie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47749692-354C-52DC-1A86-F5AB3703B1F4}"/>
              </a:ext>
            </a:extLst>
          </p:cNvPr>
          <p:cNvSpPr txBox="1"/>
          <p:nvPr/>
        </p:nvSpPr>
        <p:spPr>
          <a:xfrm>
            <a:off x="28660" y="2938742"/>
            <a:ext cx="5830283" cy="2303012"/>
          </a:xfrm>
          <a:prstGeom prst="rect">
            <a:avLst/>
          </a:prstGeom>
          <a:noFill/>
        </p:spPr>
        <p:txBody>
          <a:bodyPr wrap="square" lIns="96000" tIns="144000" rIns="96000" bIns="144000" rtlCol="0" anchor="ctr" anchorCtr="0">
            <a:normAutofit fontScale="85000" lnSpcReduction="20000"/>
          </a:bodyPr>
          <a:lstStyle/>
          <a:p>
            <a:pPr algn="ctr"/>
            <a:r>
              <a:rPr lang="fr-FR" sz="3733" i="1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Zoom sur </a:t>
            </a:r>
          </a:p>
          <a:p>
            <a:pPr algn="ctr"/>
            <a:r>
              <a:rPr lang="fr-FR" sz="3733" i="1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s pages web de la cartographie</a:t>
            </a:r>
          </a:p>
          <a:p>
            <a:pPr algn="ctr"/>
            <a:endParaRPr lang="fr-FR" sz="3733" i="1" dirty="0">
              <a:solidFill>
                <a:schemeClr val="accent5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110000"/>
              </a:lnSpc>
            </a:pPr>
            <a:r>
              <a:rPr lang="fr-FR" sz="2533" i="1" dirty="0">
                <a:solidFill>
                  <a:srgbClr val="C7176A"/>
                </a:solidFill>
                <a:highlight>
                  <a:srgbClr val="FBD9E9"/>
                </a:highlight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Accès public</a:t>
            </a:r>
            <a:endParaRPr lang="fr-FR" sz="2533" i="1" dirty="0">
              <a:solidFill>
                <a:srgbClr val="C7176A"/>
              </a:solidFill>
              <a:highlight>
                <a:srgbClr val="FBD9E9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5449088-4538-4503-B1C5-358D82BDEAD8}"/>
              </a:ext>
            </a:extLst>
          </p:cNvPr>
          <p:cNvSpPr/>
          <p:nvPr/>
        </p:nvSpPr>
        <p:spPr>
          <a:xfrm>
            <a:off x="370725" y="1274954"/>
            <a:ext cx="5146156" cy="4897127"/>
          </a:xfrm>
          <a:prstGeom prst="rect">
            <a:avLst/>
          </a:prstGeom>
          <a:noFill/>
          <a:ln w="6350">
            <a:solidFill>
              <a:srgbClr val="A6A6A6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fr-FR" sz="1867" b="1" dirty="0">
              <a:solidFill>
                <a:srgbClr val="006AB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Arrondir un rectangle avec un coin diagonal 12">
            <a:extLst>
              <a:ext uri="{FF2B5EF4-FFF2-40B4-BE49-F238E27FC236}">
                <a16:creationId xmlns:a16="http://schemas.microsoft.com/office/drawing/2014/main" id="{18D0E7DC-AEA9-0A43-898A-21114E757E0E}"/>
              </a:ext>
            </a:extLst>
          </p:cNvPr>
          <p:cNvSpPr/>
          <p:nvPr/>
        </p:nvSpPr>
        <p:spPr>
          <a:xfrm>
            <a:off x="1492452" y="5125092"/>
            <a:ext cx="2928379" cy="546181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noFill/>
            <a:prstDash val="sysDot"/>
          </a:ln>
          <a:effectLst/>
        </p:spPr>
        <p:txBody>
          <a:bodyPr lIns="96000" tIns="96000" rIns="144000" bIns="96000" numCol="1" rtlCol="0" anchor="t"/>
          <a:lstStyle/>
          <a:p>
            <a:pPr marL="0" lvl="1" algn="ctr" defTabSz="721749">
              <a:spcBef>
                <a:spcPts val="1200"/>
              </a:spcBef>
              <a:buClr>
                <a:srgbClr val="006AB2"/>
              </a:buClr>
            </a:pPr>
            <a:r>
              <a:rPr lang="fr-FR" altLang="fr-FR" sz="1600" kern="0" dirty="0">
                <a:solidFill>
                  <a:srgbClr val="6F7072"/>
                </a:solidFill>
                <a:latin typeface="Arial" panose="020B0604020202020204" pitchFamily="34" charset="0"/>
                <a:ea typeface="Geneva"/>
                <a:cs typeface="Arial" panose="020B0604020202020204" pitchFamily="34" charset="0"/>
              </a:rPr>
              <a:t>Sur esante.gouv.fr</a:t>
            </a:r>
          </a:p>
          <a:p>
            <a:pPr marL="0" lvl="1" algn="ctr" defTabSz="721749">
              <a:spcBef>
                <a:spcPts val="1200"/>
              </a:spcBef>
              <a:buClr>
                <a:srgbClr val="006AB2"/>
              </a:buClr>
            </a:pPr>
            <a:endParaRPr lang="fr-FR" altLang="fr-FR" sz="1600" kern="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F6BA343D-7730-4EA0-1422-B094B4351499}"/>
              </a:ext>
            </a:extLst>
          </p:cNvPr>
          <p:cNvSpPr txBox="1"/>
          <p:nvPr/>
        </p:nvSpPr>
        <p:spPr>
          <a:xfrm>
            <a:off x="5853829" y="1474040"/>
            <a:ext cx="6120740" cy="728276"/>
          </a:xfrm>
          <a:prstGeom prst="rect">
            <a:avLst/>
          </a:prstGeom>
          <a:noFill/>
        </p:spPr>
        <p:txBody>
          <a:bodyPr wrap="square" numCol="1" spcCol="216000">
            <a:spAutoFit/>
          </a:bodyPr>
          <a:lstStyle/>
          <a:p>
            <a:pPr marL="143996" indent="-143996" algn="just">
              <a:spcBef>
                <a:spcPts val="1600"/>
              </a:spcBef>
              <a:buClr>
                <a:srgbClr val="5268A5"/>
              </a:buClr>
              <a:buFont typeface="Arial" panose="020B0604020202020204" pitchFamily="34" charset="0"/>
              <a:buChar char="•"/>
            </a:pPr>
            <a:r>
              <a:rPr lang="fr-FR" sz="1733" b="1" i="1" dirty="0">
                <a:solidFill>
                  <a:srgbClr val="5268A5"/>
                </a:solidFill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Page Stratégie Nationale</a:t>
            </a:r>
            <a:endParaRPr lang="fr-FR" sz="1733" b="1" i="1" dirty="0">
              <a:solidFill>
                <a:srgbClr val="5268A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43996" indent="-143996" algn="just">
              <a:spcBef>
                <a:spcPts val="800"/>
              </a:spcBef>
              <a:buClr>
                <a:srgbClr val="5268A5"/>
              </a:buClr>
              <a:buFont typeface="Arial" panose="020B0604020202020204" pitchFamily="34" charset="0"/>
              <a:buChar char="•"/>
            </a:pPr>
            <a:r>
              <a:rPr lang="fr-FR" sz="1733" b="1" i="1" dirty="0">
                <a:solidFill>
                  <a:srgbClr val="5268A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s Régionales (</a:t>
            </a:r>
            <a:r>
              <a:rPr lang="fr-FR" sz="1733" b="1" i="1" dirty="0">
                <a:solidFill>
                  <a:srgbClr val="5268A5"/>
                </a:solidFill>
                <a:latin typeface="Arial" panose="020B0604020202020204" pitchFamily="34" charset="0"/>
                <a:cs typeface="Arial" panose="020B0604020202020204" pitchFamily="34" charset="0"/>
                <a:hlinkClick r:id="rId6"/>
              </a:rPr>
              <a:t>La e-santé près de chez vous</a:t>
            </a:r>
            <a:r>
              <a:rPr lang="fr-FR" sz="1733" b="1" i="1" dirty="0">
                <a:solidFill>
                  <a:srgbClr val="5268A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fr-FR" sz="1733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A467D82-8D2C-8A32-D7A2-A93C8484A0D6}"/>
              </a:ext>
            </a:extLst>
          </p:cNvPr>
          <p:cNvSpPr/>
          <p:nvPr/>
        </p:nvSpPr>
        <p:spPr>
          <a:xfrm>
            <a:off x="5853830" y="1274955"/>
            <a:ext cx="6120741" cy="1279455"/>
          </a:xfrm>
          <a:prstGeom prst="rect">
            <a:avLst/>
          </a:prstGeom>
          <a:noFill/>
          <a:ln w="6350">
            <a:solidFill>
              <a:srgbClr val="A6A6A6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fr-FR" sz="1867" b="1" dirty="0">
              <a:solidFill>
                <a:srgbClr val="006AB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0391BA0A-82A1-6A6C-A810-A2CF5B561563}"/>
              </a:ext>
            </a:extLst>
          </p:cNvPr>
          <p:cNvSpPr txBox="1"/>
          <p:nvPr/>
        </p:nvSpPr>
        <p:spPr>
          <a:xfrm>
            <a:off x="5870457" y="1168721"/>
            <a:ext cx="2740743" cy="148529"/>
          </a:xfrm>
          <a:prstGeom prst="rect">
            <a:avLst/>
          </a:prstGeom>
          <a:solidFill>
            <a:schemeClr val="bg1"/>
          </a:solidFill>
        </p:spPr>
        <p:txBody>
          <a:bodyPr wrap="square" lIns="96000" tIns="144000" rIns="96000" bIns="144000" rtlCol="0" anchor="ctr" anchorCtr="0">
            <a:noAutofit/>
          </a:bodyPr>
          <a:lstStyle/>
          <a:p>
            <a:r>
              <a:rPr lang="fr-FR" sz="1867" b="1" i="1" dirty="0">
                <a:solidFill>
                  <a:schemeClr val="bg1"/>
                </a:solidFill>
                <a:highlight>
                  <a:srgbClr val="80808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Comment y accéder ?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9C724FB7-30CE-8268-8520-0F38D252DE93}"/>
              </a:ext>
            </a:extLst>
          </p:cNvPr>
          <p:cNvSpPr txBox="1"/>
          <p:nvPr/>
        </p:nvSpPr>
        <p:spPr>
          <a:xfrm>
            <a:off x="5867184" y="3032760"/>
            <a:ext cx="6107384" cy="3107967"/>
          </a:xfrm>
          <a:prstGeom prst="rect">
            <a:avLst/>
          </a:prstGeom>
          <a:noFill/>
        </p:spPr>
        <p:txBody>
          <a:bodyPr wrap="square" numCol="1" spcCol="216000">
            <a:spAutoFit/>
          </a:bodyPr>
          <a:lstStyle/>
          <a:p>
            <a:pPr marL="143996" indent="-143996" algn="just">
              <a:spcBef>
                <a:spcPts val="1600"/>
              </a:spcBef>
              <a:buClr>
                <a:srgbClr val="5268A5"/>
              </a:buClr>
              <a:buFont typeface="Arial" panose="020B0604020202020204" pitchFamily="34" charset="0"/>
              <a:buChar char="•"/>
            </a:pPr>
            <a:r>
              <a:rPr lang="fr-FR" sz="1733" b="1" i="1" dirty="0">
                <a:solidFill>
                  <a:srgbClr val="5268A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e FAQ</a:t>
            </a:r>
            <a:r>
              <a:rPr lang="fr-FR" sz="1733" b="1" i="1" baseline="30000" dirty="0">
                <a:solidFill>
                  <a:srgbClr val="5268A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733" b="1" i="1" dirty="0">
                <a:solidFill>
                  <a:srgbClr val="5268A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répondre à vos questions :</a:t>
            </a:r>
          </a:p>
          <a:p>
            <a:pPr marL="228594" indent="-228594" algn="just">
              <a:spcBef>
                <a:spcPts val="800"/>
              </a:spcBef>
              <a:buClr>
                <a:srgbClr val="5268A5"/>
              </a:buClr>
              <a:buFont typeface="Wingdings" panose="05000000000000000000" pitchFamily="2" charset="2"/>
              <a:buChar char="ü"/>
            </a:pPr>
            <a:r>
              <a:rPr lang="fr-FR" sz="1733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lication des typologies de services, zones de filtre</a:t>
            </a:r>
          </a:p>
          <a:p>
            <a:pPr marL="228594" indent="-228594" algn="just">
              <a:spcBef>
                <a:spcPts val="800"/>
              </a:spcBef>
              <a:buClr>
                <a:srgbClr val="5268A5"/>
              </a:buClr>
              <a:buFont typeface="Wingdings" panose="05000000000000000000" pitchFamily="2" charset="2"/>
              <a:buChar char="ü"/>
            </a:pPr>
            <a:r>
              <a:rPr lang="fr-FR" sz="1733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licitation des maturités par rapport aux référentiels et services socles</a:t>
            </a:r>
          </a:p>
          <a:p>
            <a:pPr marL="228594" indent="-228594" algn="just">
              <a:spcBef>
                <a:spcPts val="800"/>
              </a:spcBef>
              <a:buClr>
                <a:srgbClr val="5268A5"/>
              </a:buClr>
              <a:buFont typeface="Wingdings" panose="05000000000000000000" pitchFamily="2" charset="2"/>
              <a:buChar char="ü"/>
            </a:pPr>
            <a:r>
              <a:rPr lang="fr-FR" sz="1733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ésentation des parties prenantes</a:t>
            </a:r>
          </a:p>
          <a:p>
            <a:pPr marL="228594" indent="-228594" algn="just">
              <a:spcBef>
                <a:spcPts val="800"/>
              </a:spcBef>
              <a:buClr>
                <a:srgbClr val="5268A5"/>
              </a:buClr>
              <a:buFont typeface="Wingdings" panose="05000000000000000000" pitchFamily="2" charset="2"/>
              <a:buChar char="ü"/>
            </a:pPr>
            <a:r>
              <a:rPr lang="fr-FR" sz="1733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éfinition d’autres terminologies utilisées dans la cartographie (notions, sigles…)</a:t>
            </a:r>
          </a:p>
          <a:p>
            <a:pPr marL="143996" indent="-143996" algn="just">
              <a:spcBef>
                <a:spcPts val="1600"/>
              </a:spcBef>
              <a:buClr>
                <a:srgbClr val="5268A5"/>
              </a:buClr>
              <a:buFont typeface="Arial" panose="020B0604020202020204" pitchFamily="34" charset="0"/>
              <a:buChar char="•"/>
            </a:pPr>
            <a:r>
              <a:rPr lang="fr-FR" sz="1733" b="1" i="1" dirty="0">
                <a:solidFill>
                  <a:srgbClr val="5268A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 pages régionales pour découvrir les services plus en détails, accessibles en 1 clic sur le nom du service</a:t>
            </a:r>
            <a:endParaRPr lang="fr-FR" sz="1733" b="1" i="1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123984C-643E-1879-87DA-E3C98959AE6F}"/>
              </a:ext>
            </a:extLst>
          </p:cNvPr>
          <p:cNvSpPr/>
          <p:nvPr/>
        </p:nvSpPr>
        <p:spPr>
          <a:xfrm>
            <a:off x="5853829" y="2833675"/>
            <a:ext cx="6120740" cy="3338408"/>
          </a:xfrm>
          <a:prstGeom prst="rect">
            <a:avLst/>
          </a:prstGeom>
          <a:noFill/>
          <a:ln w="6350">
            <a:solidFill>
              <a:srgbClr val="A6A6A6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fr-FR" sz="1867" b="1" dirty="0">
              <a:solidFill>
                <a:srgbClr val="006AB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73333B02-8D52-AE68-29DA-7D993680E121}"/>
              </a:ext>
            </a:extLst>
          </p:cNvPr>
          <p:cNvSpPr txBox="1"/>
          <p:nvPr/>
        </p:nvSpPr>
        <p:spPr>
          <a:xfrm>
            <a:off x="5911098" y="2734132"/>
            <a:ext cx="2556103" cy="236843"/>
          </a:xfrm>
          <a:prstGeom prst="rect">
            <a:avLst/>
          </a:prstGeom>
          <a:solidFill>
            <a:schemeClr val="bg1"/>
          </a:solidFill>
        </p:spPr>
        <p:txBody>
          <a:bodyPr wrap="square" lIns="96000" tIns="144000" rIns="96000" bIns="144000" rtlCol="0" anchor="ctr" anchorCtr="0">
            <a:noAutofit/>
          </a:bodyPr>
          <a:lstStyle/>
          <a:p>
            <a:r>
              <a:rPr lang="fr-FR" sz="1867" b="1" i="1" dirty="0">
                <a:solidFill>
                  <a:schemeClr val="bg1"/>
                </a:solidFill>
                <a:highlight>
                  <a:srgbClr val="80808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Pour aller plus loin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79D75F99-5E67-BAC2-6468-2DBB83B6A3A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79812" y="1425541"/>
            <a:ext cx="1607219" cy="1607219"/>
          </a:xfrm>
          <a:prstGeom prst="rect">
            <a:avLst/>
          </a:prstGeom>
        </p:spPr>
      </p:pic>
      <p:sp>
        <p:nvSpPr>
          <p:cNvPr id="19" name="Espace réservé du pied de page 8">
            <a:extLst>
              <a:ext uri="{FF2B5EF4-FFF2-40B4-BE49-F238E27FC236}">
                <a16:creationId xmlns:a16="http://schemas.microsoft.com/office/drawing/2014/main" id="{ED3C7F77-7C2C-A70D-7978-277A44E31C77}"/>
              </a:ext>
            </a:extLst>
          </p:cNvPr>
          <p:cNvSpPr txBox="1">
            <a:spLocks/>
          </p:cNvSpPr>
          <p:nvPr/>
        </p:nvSpPr>
        <p:spPr>
          <a:xfrm>
            <a:off x="0" y="6484938"/>
            <a:ext cx="92360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>
                <a:latin typeface="Arial" panose="020B0604020202020204" pitchFamily="34" charset="0"/>
                <a:cs typeface="Arial" panose="020B0604020202020204" pitchFamily="34" charset="0"/>
              </a:rPr>
              <a:t>Atelier SantExpo | 21/05/2024</a:t>
            </a:r>
          </a:p>
        </p:txBody>
      </p:sp>
    </p:spTree>
    <p:extLst>
      <p:ext uri="{BB962C8B-B14F-4D97-AF65-F5344CB8AC3E}">
        <p14:creationId xmlns:p14="http://schemas.microsoft.com/office/powerpoint/2010/main" val="25505131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7" grpId="0" animBg="1"/>
      <p:bldP spid="12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ANS_THEME STANDARD_V1.0">
  <a:themeElements>
    <a:clrScheme name="ASIP_COULEURS STANDARD_V1.0">
      <a:dk1>
        <a:sysClr val="windowText" lastClr="000000"/>
      </a:dk1>
      <a:lt1>
        <a:sysClr val="window" lastClr="FFFFFF"/>
      </a:lt1>
      <a:dk2>
        <a:srgbClr val="006AB2"/>
      </a:dk2>
      <a:lt2>
        <a:srgbClr val="C7C0BA"/>
      </a:lt2>
      <a:accent1>
        <a:srgbClr val="00A1E0"/>
      </a:accent1>
      <a:accent2>
        <a:srgbClr val="95C23D"/>
      </a:accent2>
      <a:accent3>
        <a:srgbClr val="F7D700"/>
      </a:accent3>
      <a:accent4>
        <a:srgbClr val="FF9900"/>
      </a:accent4>
      <a:accent5>
        <a:srgbClr val="E94190"/>
      </a:accent5>
      <a:accent6>
        <a:srgbClr val="B51621"/>
      </a:accent6>
      <a:hlink>
        <a:srgbClr val="00A1E0"/>
      </a:hlink>
      <a:folHlink>
        <a:srgbClr val="E2001A"/>
      </a:folHlink>
    </a:clrScheme>
    <a:fontScheme name="ASIP_POLIC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</a:spPr>
      <a:bodyPr rtlCol="0" anchor="ctr"/>
      <a:lstStyle>
        <a:defPPr algn="ctr">
          <a:defRPr sz="18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108000" rIns="72000" bIns="108000" rtlCol="0" anchor="ctr" anchorCtr="0">
        <a:normAutofit/>
      </a:bodyPr>
      <a:lstStyle>
        <a:defPPr algn="ctr">
          <a:defRPr sz="1500" dirty="0" err="1" smtClean="0">
            <a:solidFill>
              <a:srgbClr val="575757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NS_MOD_STANDARD_POWERPOINT_V2.2.potx" id="{F7DF5B5A-84BF-495B-A4B7-D2C2EF6DAA70}" vid="{EBA46EF0-C239-4070-B26E-4406F29AD006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odificateurAlfresco xmlns="f6ca01e7-bd19-41f1-999c-e032ef5104c3" xsi:nil="true"/>
    <Référence_x0020_Documentaire xmlns="f6ca01e7-bd19-41f1-999c-e032ef5104c3" xsi:nil="true"/>
    <Référence_x0020_Bon_x0020_de_x0020_Commande xmlns="f6ca01e7-bd19-41f1-999c-e032ef5104c3" xsi:nil="true"/>
    <eef0f6fc4ed046399a9d01fd3a7d6a6a xmlns="f6ca01e7-bd19-41f1-999c-e032ef5104c3">
      <Terms xmlns="http://schemas.microsoft.com/office/infopath/2007/PartnerControls"/>
    </eef0f6fc4ed046399a9d01fd3a7d6a6a>
    <f8b6baa267c0456bbf6a8d18c49a130b xmlns="f6ca01e7-bd19-41f1-999c-e032ef5104c3">
      <Terms xmlns="http://schemas.microsoft.com/office/infopath/2007/PartnerControls"/>
    </f8b6baa267c0456bbf6a8d18c49a130b>
    <Chantier xmlns="f6ca01e7-bd19-41f1-999c-e032ef5104c3" xsi:nil="true"/>
    <Environnement xmlns="f6ca01e7-bd19-41f1-999c-e032ef5104c3" xsi:nil="true"/>
    <Durée_x0020_d_x0027_Utilité_x0020_Administrative_x0020__x0028_DUA_x0029_ xmlns="f6ca01e7-bd19-41f1-999c-e032ef5104c3" xsi:nil="true"/>
    <p671c8df16a44846939d278d4958f62c xmlns="f6ca01e7-bd19-41f1-999c-e032ef5104c3">
      <Terms xmlns="http://schemas.microsoft.com/office/infopath/2007/PartnerControls"/>
    </p671c8df16a44846939d278d4958f62c>
    <_ExtendedDescription xmlns="http://schemas.microsoft.com/sharepoint/v3" xsi:nil="true"/>
    <b2804ef99be44b9e8166e80a6c2eb9f1 xmlns="f6ca01e7-bd19-41f1-999c-e032ef5104c3">
      <Terms xmlns="http://schemas.microsoft.com/office/infopath/2007/PartnerControls"/>
    </b2804ef99be44b9e8166e80a6c2eb9f1>
    <mc4aa6e782e045f6bb87dab01c971b56 xmlns="f6ca01e7-bd19-41f1-999c-e032ef5104c3">
      <Terms xmlns="http://schemas.microsoft.com/office/infopath/2007/PartnerControls"/>
    </mc4aa6e782e045f6bb87dab01c971b56>
    <m312bc62cb0243b6a873cbbf4dace6b2 xmlns="f6ca01e7-bd19-41f1-999c-e032ef5104c3">
      <Terms xmlns="http://schemas.microsoft.com/office/infopath/2007/PartnerControls"/>
    </m312bc62cb0243b6a873cbbf4dace6b2>
    <b084a4cb34a444d7969136255594d2f3 xmlns="f6ca01e7-bd19-41f1-999c-e032ef5104c3">
      <Terms xmlns="http://schemas.microsoft.com/office/infopath/2007/PartnerControls"/>
    </b084a4cb34a444d7969136255594d2f3>
    <CreateurAlfresco xmlns="f6ca01e7-bd19-41f1-999c-e032ef5104c3" xsi:nil="true"/>
    <g30fb2d8061a4d40b63138f91c1a832e xmlns="f6ca01e7-bd19-41f1-999c-e032ef5104c3">
      <Terms xmlns="http://schemas.microsoft.com/office/infopath/2007/PartnerControls"/>
    </g30fb2d8061a4d40b63138f91c1a832e>
    <lcf76f155ced4ddcb4097134ff3c332f xmlns="0b721442-113b-407f-a8c3-00e2b9ef10f1">
      <Terms xmlns="http://schemas.microsoft.com/office/infopath/2007/PartnerControls"/>
    </lcf76f155ced4ddcb4097134ff3c332f>
    <Ticket_x0020_Changement xmlns="f6ca01e7-bd19-41f1-999c-e032ef5104c3" xsi:nil="true"/>
    <m9a76db3058146ae844db6599c9d7036 xmlns="f6ca01e7-bd19-41f1-999c-e032ef5104c3">
      <Terms xmlns="http://schemas.microsoft.com/office/infopath/2007/PartnerControls"/>
    </m9a76db3058146ae844db6599c9d7036>
    <TaxCatchAll xmlns="f6ca01e7-bd19-41f1-999c-e032ef5104c3" xsi:nil="true"/>
    <l0a6b4600f484920bbceae0813174244 xmlns="f6ca01e7-bd19-41f1-999c-e032ef5104c3">
      <Terms xmlns="http://schemas.microsoft.com/office/infopath/2007/PartnerControls"/>
    </l0a6b4600f484920bbceae0813174244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 - Suivi de projet" ma:contentTypeID="0x010100333226B5D6902549BFE4A72F45A4400B010011EC33BBBDA7E34E9500808EC947F2FA" ma:contentTypeVersion="80" ma:contentTypeDescription="Type de contenu - Documentation de suivi de projet" ma:contentTypeScope="" ma:versionID="8b0463c3df4aaf9ba5655301705b8961">
  <xsd:schema xmlns:xsd="http://www.w3.org/2001/XMLSchema" xmlns:xs="http://www.w3.org/2001/XMLSchema" xmlns:p="http://schemas.microsoft.com/office/2006/metadata/properties" xmlns:ns1="http://schemas.microsoft.com/sharepoint/v3" xmlns:ns2="f6ca01e7-bd19-41f1-999c-e032ef5104c3" xmlns:ns3="0b721442-113b-407f-a8c3-00e2b9ef10f1" targetNamespace="http://schemas.microsoft.com/office/2006/metadata/properties" ma:root="true" ma:fieldsID="24b9019ea1b83f073ec20557f6899e2b" ns1:_="" ns2:_="" ns3:_="">
    <xsd:import namespace="http://schemas.microsoft.com/sharepoint/v3"/>
    <xsd:import namespace="f6ca01e7-bd19-41f1-999c-e032ef5104c3"/>
    <xsd:import namespace="0b721442-113b-407f-a8c3-00e2b9ef10f1"/>
    <xsd:element name="properties">
      <xsd:complexType>
        <xsd:sequence>
          <xsd:element name="documentManagement">
            <xsd:complexType>
              <xsd:all>
                <xsd:element ref="ns2:Référence_x0020_Documentaire" minOccurs="0"/>
                <xsd:element ref="ns2:Ticket_x0020_Changement" minOccurs="0"/>
                <xsd:element ref="ns2:Environnement" minOccurs="0"/>
                <xsd:element ref="ns2:Chantier" minOccurs="0"/>
                <xsd:element ref="ns2:Référence_x0020_Bon_x0020_de_x0020_Commande" minOccurs="0"/>
                <xsd:element ref="ns2:Durée_x0020_d_x0027_Utilité_x0020_Administrative_x0020__x0028_DUA_x0029_" minOccurs="0"/>
                <xsd:element ref="ns1:_ExtendedDescription" minOccurs="0"/>
                <xsd:element ref="ns2:CreateurAlfresco" minOccurs="0"/>
                <xsd:element ref="ns2:ModificateurAlfresco" minOccurs="0"/>
                <xsd:element ref="ns2:TaxCatchAll" minOccurs="0"/>
                <xsd:element ref="ns2:l0a6b4600f484920bbceae0813174244" minOccurs="0"/>
                <xsd:element ref="ns2:b2804ef99be44b9e8166e80a6c2eb9f1" minOccurs="0"/>
                <xsd:element ref="ns2:eef0f6fc4ed046399a9d01fd3a7d6a6a" minOccurs="0"/>
                <xsd:element ref="ns2:p671c8df16a44846939d278d4958f62c" minOccurs="0"/>
                <xsd:element ref="ns2:b084a4cb34a444d7969136255594d2f3" minOccurs="0"/>
                <xsd:element ref="ns2:m9a76db3058146ae844db6599c9d7036" minOccurs="0"/>
                <xsd:element ref="ns2:mc4aa6e782e045f6bb87dab01c971b56" minOccurs="0"/>
                <xsd:element ref="ns2:TaxCatchAllLabel" minOccurs="0"/>
                <xsd:element ref="ns2:g30fb2d8061a4d40b63138f91c1a832e" minOccurs="0"/>
                <xsd:element ref="ns2:m312bc62cb0243b6a873cbbf4dace6b2" minOccurs="0"/>
                <xsd:element ref="ns2:f8b6baa267c0456bbf6a8d18c49a130b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ObjectDetectorVersions" minOccurs="0"/>
                <xsd:element ref="ns3:MediaServiceGenerationTime" minOccurs="0"/>
                <xsd:element ref="ns3:MediaServiceEventHashCode" minOccurs="0"/>
                <xsd:element ref="ns3:MediaLengthInSeconds" minOccurs="0"/>
                <xsd:element ref="ns3:lcf76f155ced4ddcb4097134ff3c332f" minOccurs="0"/>
                <xsd:element ref="ns3:MediaServiceOCR" minOccurs="0"/>
                <xsd:element ref="ns3:MediaServiceSearchProperties" minOccurs="0"/>
                <xsd:element ref="ns2:SharedWithUsers" minOccurs="0"/>
                <xsd:element ref="ns2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ExtendedDescription" ma:index="18" nillable="true" ma:displayName="Description" ma:internalName="_ExtendedDescription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6ca01e7-bd19-41f1-999c-e032ef5104c3" elementFormDefault="qualified">
    <xsd:import namespace="http://schemas.microsoft.com/office/2006/documentManagement/types"/>
    <xsd:import namespace="http://schemas.microsoft.com/office/infopath/2007/PartnerControls"/>
    <xsd:element name="Référence_x0020_Documentaire" ma:index="7" nillable="true" ma:displayName="Référence Documentaire" ma:default="" ma:internalName="R_x00e9_f_x00e9_rence_x0020_Documentaire">
      <xsd:simpleType>
        <xsd:restriction base="dms:Text">
          <xsd:maxLength value="255"/>
        </xsd:restriction>
      </xsd:simpleType>
    </xsd:element>
    <xsd:element name="Ticket_x0020_Changement" ma:index="8" nillable="true" ma:displayName="Ticket Changement" ma:default="" ma:internalName="Ticket_x0020_Changement">
      <xsd:simpleType>
        <xsd:restriction base="dms:Text">
          <xsd:maxLength value="255"/>
        </xsd:restriction>
      </xsd:simpleType>
    </xsd:element>
    <xsd:element name="Environnement" ma:index="9" nillable="true" ma:displayName="Environnement" ma:default="" ma:internalName="Environnement">
      <xsd:simpleType>
        <xsd:restriction base="dms:Text">
          <xsd:maxLength value="255"/>
        </xsd:restriction>
      </xsd:simpleType>
    </xsd:element>
    <xsd:element name="Chantier" ma:index="11" nillable="true" ma:displayName="Chantier" ma:default="" ma:internalName="Chantier">
      <xsd:simpleType>
        <xsd:restriction base="dms:Text">
          <xsd:maxLength value="255"/>
        </xsd:restriction>
      </xsd:simpleType>
    </xsd:element>
    <xsd:element name="Référence_x0020_Bon_x0020_de_x0020_Commande" ma:index="13" nillable="true" ma:displayName="Référence Bon de Commande" ma:indexed="true" ma:internalName="R_x00e9_f_x00e9_rence_x0020_Bon_x0020_de_x0020_Commande">
      <xsd:simpleType>
        <xsd:restriction base="dms:Text">
          <xsd:maxLength value="255"/>
        </xsd:restriction>
      </xsd:simpleType>
    </xsd:element>
    <xsd:element name="Durée_x0020_d_x0027_Utilité_x0020_Administrative_x0020__x0028_DUA_x0029_" ma:index="17" nillable="true" ma:displayName="Durée d'Utilité Administrative (DUA)" ma:internalName="Dur_x00e9_e_x0020_d_x0027_Utilit_x00e9__x0020_Administrative_x0020__x0028_DUA_x0029_" ma:percentage="FALSE">
      <xsd:simpleType>
        <xsd:restriction base="dms:Number"/>
      </xsd:simpleType>
    </xsd:element>
    <xsd:element name="CreateurAlfresco" ma:index="19" nillable="true" ma:displayName="CreateurAlfresco" ma:default="" ma:internalName="CreateurAlfresco">
      <xsd:simpleType>
        <xsd:restriction base="dms:Text">
          <xsd:maxLength value="255"/>
        </xsd:restriction>
      </xsd:simpleType>
    </xsd:element>
    <xsd:element name="ModificateurAlfresco" ma:index="20" nillable="true" ma:displayName="ModificateurAlfresco" ma:default="" ma:internalName="ModificateurAlfresco">
      <xsd:simpleType>
        <xsd:restriction base="dms:Text">
          <xsd:maxLength value="255"/>
        </xsd:restriction>
      </xsd:simpleType>
    </xsd:element>
    <xsd:element name="TaxCatchAll" ma:index="21" nillable="true" ma:displayName="Taxonomy Catch All Column" ma:hidden="true" ma:list="{61f3ec5f-5a67-40e0-b5e0-e23b6b588f8b}" ma:internalName="TaxCatchAll" ma:showField="CatchAllData" ma:web="f6ca01e7-bd19-41f1-999c-e032ef5104c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l0a6b4600f484920bbceae0813174244" ma:index="22" nillable="true" ma:taxonomy="true" ma:internalName="l0a6b4600f484920bbceae0813174244" ma:taxonomyFieldName="Prestataire_x0028_s_x0029_" ma:displayName="Prestataire(s)" ma:fieldId="{50a6b460-0f48-4920-bbce-ae0813174244}" ma:taxonomyMulti="true" ma:sspId="c4480557-28ee-4200-b705-f4b4ceb9c11a" ma:termSetId="46ab08c7-aeb3-4684-9e81-fb4503d5290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2804ef99be44b9e8166e80a6c2eb9f1" ma:index="24" nillable="true" ma:taxonomy="true" ma:internalName="b2804ef99be44b9e8166e80a6c2eb9f1" ma:taxonomyFieldName="Statut_x0020_du_x0020_document" ma:displayName="Statut du document" ma:default="" ma:fieldId="{b2804ef9-9be4-4b9e-8166-e80a6c2eb9f1}" ma:sspId="c4480557-28ee-4200-b705-f4b4ceb9c11a" ma:termSetId="57d84b5c-8637-4a53-9541-e98f138eeb73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eef0f6fc4ed046399a9d01fd3a7d6a6a" ma:index="26" nillable="true" ma:taxonomy="true" ma:internalName="eef0f6fc4ed046399a9d01fd3a7d6a6a" ma:taxonomyFieldName="Sort_x0020_Final_x0020__x0028_Archivage_x0029_1" ma:displayName="Sort Final (Archivage)" ma:indexed="true" ma:fieldId="{eef0f6fc-4ed0-4639-9a9d-01fd3a7d6a6a}" ma:sspId="c4480557-28ee-4200-b705-f4b4ceb9c11a" ma:termSetId="894a0867-9216-43ab-99c5-e7b2cbb034e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p671c8df16a44846939d278d4958f62c" ma:index="28" nillable="true" ma:taxonomy="true" ma:internalName="p671c8df16a44846939d278d4958f62c" ma:taxonomyFieldName="Direction_x0020__x002F__x0020_Service" ma:displayName="Direction / Service" ma:readOnly="false" ma:fieldId="{9671c8df-16a4-4846-939d-278d4958f62c}" ma:taxonomyMulti="true" ma:sspId="c4480557-28ee-4200-b705-f4b4ceb9c11a" ma:termSetId="06452e41-1966-4633-9fe1-38f9847c7dc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084a4cb34a444d7969136255594d2f3" ma:index="30" nillable="true" ma:taxonomy="true" ma:internalName="b084a4cb34a444d7969136255594d2f3" ma:taxonomyFieldName="Type_x0020_de_x0020_document_x0020_ANS" ma:displayName="Type de document ANS" ma:indexed="true" ma:readOnly="false" ma:default="" ma:fieldId="{b084a4cb-34a4-44d7-9691-36255594d2f3}" ma:sspId="c4480557-28ee-4200-b705-f4b4ceb9c11a" ma:termSetId="1275da89-553e-403a-abbb-5d47ef28975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9a76db3058146ae844db6599c9d7036" ma:index="32" nillable="true" ma:taxonomy="true" ma:internalName="m9a76db3058146ae844db6599c9d7036" ma:taxonomyFieldName="Classification" ma:displayName="Classification" ma:readOnly="false" ma:fieldId="{69a76db3-0581-46ae-844d-b6599c9d7036}" ma:sspId="c4480557-28ee-4200-b705-f4b4ceb9c11a" ma:termSetId="8feb0b63-8672-4f69-8e69-5df4ee99fafe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c4aa6e782e045f6bb87dab01c971b56" ma:index="33" nillable="true" ma:taxonomy="true" ma:internalName="mc4aa6e782e045f6bb87dab01c971b56" ma:taxonomyFieldName="Version_x0020_Applicative" ma:displayName="Version Applicative" ma:default="" ma:fieldId="{6c4aa6e7-82e0-45f6-bb87-dab01c971b56}" ma:taxonomyMulti="true" ma:sspId="c4480557-28ee-4200-b705-f4b4ceb9c11a" ma:termSetId="3d1661bf-2cce-4a88-b69a-0a25d82a555a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TaxCatchAllLabel" ma:index="34" nillable="true" ma:displayName="Taxonomy Catch All Column1" ma:hidden="true" ma:list="{61f3ec5f-5a67-40e0-b5e0-e23b6b588f8b}" ma:internalName="TaxCatchAllLabel" ma:readOnly="true" ma:showField="CatchAllDataLabel" ma:web="f6ca01e7-bd19-41f1-999c-e032ef5104c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g30fb2d8061a4d40b63138f91c1a832e" ma:index="35" nillable="true" ma:taxonomy="true" ma:internalName="g30fb2d8061a4d40b63138f91c1a832e" ma:taxonomyFieldName="March_x00e9_" ma:displayName="Marché" ma:fieldId="{030fb2d8-061a-4d40-b631-38f91c1a832e}" ma:sspId="c4480557-28ee-4200-b705-f4b4ceb9c11a" ma:termSetId="e41f313d-41ce-4da8-b34e-2b840364225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312bc62cb0243b6a873cbbf4dace6b2" ma:index="37" nillable="true" ma:taxonomy="true" ma:internalName="m312bc62cb0243b6a873cbbf4dace6b2" ma:taxonomyFieldName="Projet" ma:displayName="Projet" ma:readOnly="false" ma:fieldId="{6312bc62-cb02-43b6-a873-cbbf4dace6b2}" ma:sspId="c4480557-28ee-4200-b705-f4b4ceb9c11a" ma:termSetId="207e172a-6847-42a8-b45e-d0bbb1e2340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f8b6baa267c0456bbf6a8d18c49a130b" ma:index="38" nillable="true" ma:taxonomy="true" ma:internalName="f8b6baa267c0456bbf6a8d18c49a130b" ma:taxonomyFieldName="Cat_x00e9_gorie_x0020_Documentaire" ma:displayName="Catégorie Documentaire" ma:readOnly="false" ma:fieldId="{f8b6baa2-67c0-456b-bf6a-8d18c49a130b}" ma:sspId="c4480557-28ee-4200-b705-f4b4ceb9c11a" ma:termSetId="5548a444-67a9-4fed-ab61-d9aae03cf8e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aredWithUsers" ma:index="50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51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b721442-113b-407f-a8c3-00e2b9ef10f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3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4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4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4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4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4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4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47" nillable="true" ma:taxonomy="true" ma:internalName="lcf76f155ced4ddcb4097134ff3c332f" ma:taxonomyFieldName="MediaServiceImageTags" ma:displayName="Balises d’images" ma:readOnly="false" ma:fieldId="{5cf76f15-5ced-4ddc-b409-7134ff3c332f}" ma:taxonomyMulti="true" ma:sspId="c4480557-28ee-4200-b705-f4b4ceb9c11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4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49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36" ma:displayName="Type de contenu"/>
        <xsd:element ref="dc:title" minOccurs="0" maxOccurs="1" ma:index="1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19B7243-2FE1-4833-8959-F3B43C4269ED}">
  <ds:schemaRefs>
    <ds:schemaRef ds:uri="http://purl.org/dc/dcmitype/"/>
    <ds:schemaRef ds:uri="http://schemas.microsoft.com/sharepoint/v3"/>
    <ds:schemaRef ds:uri="http://schemas.microsoft.com/office/2006/metadata/properties"/>
    <ds:schemaRef ds:uri="http://www.w3.org/XML/1998/namespace"/>
    <ds:schemaRef ds:uri="http://schemas.microsoft.com/office/2006/documentManagement/types"/>
    <ds:schemaRef ds:uri="0b721442-113b-407f-a8c3-00e2b9ef10f1"/>
    <ds:schemaRef ds:uri="http://purl.org/dc/elements/1.1/"/>
    <ds:schemaRef ds:uri="http://purl.org/dc/terms/"/>
    <ds:schemaRef ds:uri="http://schemas.openxmlformats.org/package/2006/metadata/core-properties"/>
    <ds:schemaRef ds:uri="http://schemas.microsoft.com/office/infopath/2007/PartnerControls"/>
    <ds:schemaRef ds:uri="f6ca01e7-bd19-41f1-999c-e032ef5104c3"/>
  </ds:schemaRefs>
</ds:datastoreItem>
</file>

<file path=customXml/itemProps2.xml><?xml version="1.0" encoding="utf-8"?>
<ds:datastoreItem xmlns:ds="http://schemas.openxmlformats.org/officeDocument/2006/customXml" ds:itemID="{362DCA50-D784-4A71-B735-7A8B362A7B7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4E60EE8-62A7-44BF-A33A-993B628C997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f6ca01e7-bd19-41f1-999c-e032ef5104c3"/>
    <ds:schemaRef ds:uri="0b721442-113b-407f-a8c3-00e2b9ef10f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88</TotalTime>
  <Words>1397</Words>
  <Application>Microsoft Office PowerPoint</Application>
  <PresentationFormat>Grand écran</PresentationFormat>
  <Paragraphs>167</Paragraphs>
  <Slides>13</Slides>
  <Notes>10</Notes>
  <HiddenSlides>0</HiddenSlides>
  <MMClips>0</MMClips>
  <ScaleCrop>false</ScaleCrop>
  <HeadingPairs>
    <vt:vector size="8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3</vt:i4>
      </vt:variant>
    </vt:vector>
  </HeadingPairs>
  <TitlesOfParts>
    <vt:vector size="22" baseType="lpstr">
      <vt:lpstr>Arial</vt:lpstr>
      <vt:lpstr>Calibri</vt:lpstr>
      <vt:lpstr>Calibri Light</vt:lpstr>
      <vt:lpstr>Webdings</vt:lpstr>
      <vt:lpstr>Wingdings</vt:lpstr>
      <vt:lpstr>Wingdings 3</vt:lpstr>
      <vt:lpstr>Thème Office</vt:lpstr>
      <vt:lpstr>ANS_THEME STANDARD_V1.0</vt:lpstr>
      <vt:lpstr>Diapositive think-cell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Microsoft Office User</dc:creator>
  <cp:lastModifiedBy>Frédéric POULIGNY</cp:lastModifiedBy>
  <cp:revision>329</cp:revision>
  <cp:lastPrinted>2021-08-27T14:04:11Z</cp:lastPrinted>
  <dcterms:created xsi:type="dcterms:W3CDTF">2021-08-26T12:18:14Z</dcterms:created>
  <dcterms:modified xsi:type="dcterms:W3CDTF">2024-05-15T07:19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33226B5D6902549BFE4A72F45A4400B010011EC33BBBDA7E34E9500808EC947F2FA</vt:lpwstr>
  </property>
  <property fmtid="{D5CDD505-2E9C-101B-9397-08002B2CF9AE}" pid="3" name="Marché">
    <vt:lpwstr/>
  </property>
  <property fmtid="{D5CDD505-2E9C-101B-9397-08002B2CF9AE}" pid="4" name="Projet">
    <vt:lpwstr/>
  </property>
  <property fmtid="{D5CDD505-2E9C-101B-9397-08002B2CF9AE}" pid="5" name="Type de document ANS">
    <vt:lpwstr/>
  </property>
  <property fmtid="{D5CDD505-2E9C-101B-9397-08002B2CF9AE}" pid="6" name="MediaServiceImageTags">
    <vt:lpwstr/>
  </property>
  <property fmtid="{D5CDD505-2E9C-101B-9397-08002B2CF9AE}" pid="7" name="Direction / Service">
    <vt:lpwstr/>
  </property>
  <property fmtid="{D5CDD505-2E9C-101B-9397-08002B2CF9AE}" pid="8" name="Statut du document">
    <vt:lpwstr/>
  </property>
  <property fmtid="{D5CDD505-2E9C-101B-9397-08002B2CF9AE}" pid="9" name="Prestataire(s)">
    <vt:lpwstr/>
  </property>
  <property fmtid="{D5CDD505-2E9C-101B-9397-08002B2CF9AE}" pid="10" name="Classification">
    <vt:lpwstr/>
  </property>
  <property fmtid="{D5CDD505-2E9C-101B-9397-08002B2CF9AE}" pid="11" name="Catégorie Documentaire">
    <vt:lpwstr/>
  </property>
  <property fmtid="{D5CDD505-2E9C-101B-9397-08002B2CF9AE}" pid="12" name="Sort Final (Archivage)1">
    <vt:lpwstr/>
  </property>
  <property fmtid="{D5CDD505-2E9C-101B-9397-08002B2CF9AE}" pid="13" name="Version Applicative">
    <vt:lpwstr/>
  </property>
</Properties>
</file>